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68" r:id="rId2"/>
    <p:sldMasterId id="2147483677" r:id="rId3"/>
  </p:sldMasterIdLst>
  <p:notesMasterIdLst>
    <p:notesMasterId r:id="rId40"/>
  </p:notesMasterIdLst>
  <p:handoutMasterIdLst>
    <p:handoutMasterId r:id="rId41"/>
  </p:handoutMasterIdLst>
  <p:sldIdLst>
    <p:sldId id="409" r:id="rId4"/>
    <p:sldId id="461" r:id="rId5"/>
    <p:sldId id="302" r:id="rId6"/>
    <p:sldId id="370" r:id="rId7"/>
    <p:sldId id="427" r:id="rId8"/>
    <p:sldId id="374" r:id="rId9"/>
    <p:sldId id="428" r:id="rId10"/>
    <p:sldId id="375" r:id="rId11"/>
    <p:sldId id="376" r:id="rId12"/>
    <p:sldId id="377" r:id="rId13"/>
    <p:sldId id="429" r:id="rId14"/>
    <p:sldId id="430" r:id="rId15"/>
    <p:sldId id="433" r:id="rId16"/>
    <p:sldId id="434" r:id="rId17"/>
    <p:sldId id="431" r:id="rId18"/>
    <p:sldId id="414" r:id="rId19"/>
    <p:sldId id="416" r:id="rId20"/>
    <p:sldId id="417" r:id="rId21"/>
    <p:sldId id="418" r:id="rId22"/>
    <p:sldId id="419" r:id="rId23"/>
    <p:sldId id="378" r:id="rId24"/>
    <p:sldId id="379" r:id="rId25"/>
    <p:sldId id="380" r:id="rId26"/>
    <p:sldId id="383" r:id="rId27"/>
    <p:sldId id="384" r:id="rId28"/>
    <p:sldId id="385" r:id="rId29"/>
    <p:sldId id="386" r:id="rId30"/>
    <p:sldId id="387" r:id="rId31"/>
    <p:sldId id="382" r:id="rId32"/>
    <p:sldId id="420" r:id="rId33"/>
    <p:sldId id="422" r:id="rId34"/>
    <p:sldId id="423" r:id="rId35"/>
    <p:sldId id="424" r:id="rId36"/>
    <p:sldId id="425" r:id="rId37"/>
    <p:sldId id="352" r:id="rId38"/>
    <p:sldId id="301" r:id="rId39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440">
          <p15:clr>
            <a:srgbClr val="A4A3A4"/>
          </p15:clr>
        </p15:guide>
        <p15:guide id="2" orient="horz" pos="640">
          <p15:clr>
            <a:srgbClr val="A4A3A4"/>
          </p15:clr>
        </p15:guide>
        <p15:guide id="3" orient="horz" pos="712">
          <p15:clr>
            <a:srgbClr val="A4A3A4"/>
          </p15:clr>
        </p15:guide>
        <p15:guide id="4" orient="horz" pos="3928">
          <p15:clr>
            <a:srgbClr val="A4A3A4"/>
          </p15:clr>
        </p15:guide>
        <p15:guide id="5" orient="horz" pos="38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24E0C"/>
    <a:srgbClr val="17ABE3"/>
    <a:srgbClr val="A20000"/>
    <a:srgbClr val="A40000"/>
    <a:srgbClr val="9E0000"/>
    <a:srgbClr val="C7450B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62" autoAdjust="0"/>
    <p:restoredTop sz="94802" autoAdjust="0"/>
  </p:normalViewPr>
  <p:slideViewPr>
    <p:cSldViewPr snapToGrid="0">
      <p:cViewPr varScale="1">
        <p:scale>
          <a:sx n="150" d="100"/>
          <a:sy n="150" d="100"/>
        </p:scale>
        <p:origin x="4626" y="126"/>
      </p:cViewPr>
      <p:guideLst>
        <p:guide pos="5440"/>
        <p:guide orient="horz" pos="640"/>
        <p:guide orient="horz" pos="712"/>
        <p:guide orient="horz" pos="3928"/>
        <p:guide orient="horz" pos="38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20" Type="http://schemas.openxmlformats.org/officeDocument/2006/relationships/slide" Target="slides/slide17.xml"/><Relationship Id="rId41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2022/5/16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‹#›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86D8963-CFCD-4740-AF60-049850373CDF}" type="datetimeFigureOut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56236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E6FDB6-6D2B-46C1-9FA1-D82906A37C3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阿里巴巴普惠体 R" panose="00020600040101010101" pitchFamily="18" charset="-122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阿里巴巴普惠体 R" panose="00020600040101010101" pitchFamily="18" charset="-122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6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0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制作感谢页（伯禹</a:t>
            </a:r>
            <a:r>
              <a:rPr kumimoji="1" lang="en-US" altLang="zh-CN" dirty="0"/>
              <a:t>logo+</a:t>
            </a:r>
            <a:r>
              <a:rPr kumimoji="1" lang="zh-CN" altLang="en-US" dirty="0"/>
              <a:t>打造</a:t>
            </a:r>
            <a:r>
              <a:rPr kumimoji="1" lang="en-US" altLang="zh-CN" dirty="0"/>
              <a:t>AI</a:t>
            </a:r>
            <a:r>
              <a:rPr kumimoji="1" lang="zh-CN" altLang="en-US" dirty="0"/>
              <a:t>领域的黄埔军校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3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7782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2/5/16</a:t>
            </a:fld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06D5035-281B-48A3-AAEF-370C250ED6CB}"/>
              </a:ext>
            </a:extLst>
          </p:cNvPr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E26BE868-DEDB-446D-8061-DA06019DF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  <p:extLst>
      <p:ext uri="{BB962C8B-B14F-4D97-AF65-F5344CB8AC3E}">
        <p14:creationId xmlns:p14="http://schemas.microsoft.com/office/powerpoint/2010/main" val="3560557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E10A5ED6-BA28-4AB3-9FFA-AD4263DD4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CB87EDC-97F7-4F50-A29C-7C7880825747}"/>
              </a:ext>
            </a:extLst>
          </p:cNvPr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29770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7AC14769-18E2-474D-B94B-82A38383FED5}"/>
              </a:ext>
            </a:extLst>
          </p:cNvPr>
          <p:cNvSpPr txBox="1"/>
          <p:nvPr userDrawn="1"/>
        </p:nvSpPr>
        <p:spPr>
          <a:xfrm>
            <a:off x="2983768" y="2827958"/>
            <a:ext cx="33394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00B0F0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THANK YOU</a:t>
            </a:r>
            <a:endParaRPr lang="zh-CN" altLang="en-US" sz="3600" b="1" dirty="0">
              <a:solidFill>
                <a:srgbClr val="00B0F0"/>
              </a:solidFill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EF83270F-EE02-4635-BD8A-599009BBCC52}"/>
              </a:ext>
            </a:extLst>
          </p:cNvPr>
          <p:cNvSpPr/>
          <p:nvPr userDrawn="1"/>
        </p:nvSpPr>
        <p:spPr>
          <a:xfrm>
            <a:off x="186431" y="896645"/>
            <a:ext cx="8708994" cy="355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696705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BCA9E9A2-5D3E-4A6D-98CA-FAD6AF8F5F4B}"/>
              </a:ext>
            </a:extLst>
          </p:cNvPr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29204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D0851EE6-6491-074F-9A62-4AE5D275B554}"/>
              </a:ext>
            </a:extLst>
          </p:cNvPr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F8FCD97E-1210-8E49-A3E6-087A08B4628B}"/>
              </a:ext>
            </a:extLst>
          </p:cNvPr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1EBC602-977D-2E4D-936A-A720A33E5F5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6F59A00-FC52-814E-A4FA-34A355682DE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1F8E2B3-1AF5-E344-9FEB-7D9BBB6B1F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14E4CE0-1183-7E42-9C8E-632D338645F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9537913-5FDE-4740-ACDA-21BC9AFC23D4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2D1555A-987F-1743-9074-0F1426D22CFF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40BCFD9-ACBE-844E-8E38-48C32DA5031A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DE7C2FB-9784-AB48-823F-3E3087D8251E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17A7512E-A300-6949-8394-88CC02088232}"/>
              </a:ext>
            </a:extLst>
          </p:cNvPr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E8767F12-5BD4-2E4B-8DB7-937C33D9B0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142" y="4038539"/>
            <a:ext cx="1338940" cy="600379"/>
          </a:xfrm>
          <a:prstGeom prst="rect">
            <a:avLst/>
          </a:prstGeom>
        </p:spPr>
      </p:pic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9635D535-85FB-5F46-8B39-8C156F6830C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96278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83BB3B47-2B46-D249-B092-A9CCE28AAB2F}"/>
              </a:ext>
            </a:extLst>
          </p:cNvPr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CF3102EB-F9B9-1143-9E23-3112F527DD90}"/>
              </a:ext>
            </a:extLst>
          </p:cNvPr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4D84D06-D058-6E4F-822A-0988906D4DD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61A469E-ED3F-5643-941D-D33FA4BF16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8A059A4A-F24A-C440-A775-A53C26D567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8666" y="4139109"/>
            <a:ext cx="1338940" cy="600379"/>
          </a:xfrm>
          <a:prstGeom prst="rect">
            <a:avLst/>
          </a:prstGeom>
        </p:spPr>
      </p:pic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023EE441-02DB-0A49-B917-B01072C76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4029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2/5/16</a:t>
            </a:fld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06D5035-281B-48A3-AAEF-370C250ED6CB}"/>
              </a:ext>
            </a:extLst>
          </p:cNvPr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E26BE868-DEDB-446D-8061-DA06019DF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  <p:extLst>
      <p:ext uri="{BB962C8B-B14F-4D97-AF65-F5344CB8AC3E}">
        <p14:creationId xmlns:p14="http://schemas.microsoft.com/office/powerpoint/2010/main" val="1027757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E10A5ED6-BA28-4AB3-9FFA-AD4263DD4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CB87EDC-97F7-4F50-A29C-7C7880825747}"/>
              </a:ext>
            </a:extLst>
          </p:cNvPr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31230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/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/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/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142" y="4038539"/>
            <a:ext cx="1338940" cy="600379"/>
          </a:xfrm>
          <a:prstGeom prst="rect">
            <a:avLst/>
          </a:prstGeom>
        </p:spPr>
      </p:pic>
      <p:sp>
        <p:nvSpPr>
          <p:cNvPr id="2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/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8666" y="4139109"/>
            <a:ext cx="1338940" cy="600379"/>
          </a:xfrm>
          <a:prstGeom prst="rect">
            <a:avLst/>
          </a:prstGeom>
        </p:spPr>
      </p:pic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2/5/16</a:t>
            </a:fld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 userDrawn="1"/>
        </p:nvSpPr>
        <p:spPr>
          <a:xfrm>
            <a:off x="2983768" y="2782669"/>
            <a:ext cx="33394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00B0F0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THANK YOU</a:t>
            </a:r>
            <a:endParaRPr lang="zh-CN" altLang="en-US" sz="3600" b="1" dirty="0">
              <a:solidFill>
                <a:srgbClr val="00B0F0"/>
              </a:solidFill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186431" y="896645"/>
            <a:ext cx="8708994" cy="355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BCA9E9A2-5D3E-4A6D-98CA-FAD6AF8F5F4B}"/>
              </a:ext>
            </a:extLst>
          </p:cNvPr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5189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D0851EE6-6491-074F-9A62-4AE5D275B554}"/>
              </a:ext>
            </a:extLst>
          </p:cNvPr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F8FCD97E-1210-8E49-A3E6-087A08B4628B}"/>
              </a:ext>
            </a:extLst>
          </p:cNvPr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1EBC602-977D-2E4D-936A-A720A33E5F5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6F59A00-FC52-814E-A4FA-34A355682DE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1F8E2B3-1AF5-E344-9FEB-7D9BBB6B1F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14E4CE0-1183-7E42-9C8E-632D338645F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9537913-5FDE-4740-ACDA-21BC9AFC23D4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2D1555A-987F-1743-9074-0F1426D22CFF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40BCFD9-ACBE-844E-8E38-48C32DA5031A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DE7C2FB-9784-AB48-823F-3E3087D8251E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17A7512E-A300-6949-8394-88CC02088232}"/>
              </a:ext>
            </a:extLst>
          </p:cNvPr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E8767F12-5BD4-2E4B-8DB7-937C33D9B0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142" y="4038539"/>
            <a:ext cx="1338940" cy="600379"/>
          </a:xfrm>
          <a:prstGeom prst="rect">
            <a:avLst/>
          </a:prstGeom>
        </p:spPr>
      </p:pic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9635D535-85FB-5F46-8B39-8C156F6830C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23925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83BB3B47-2B46-D249-B092-A9CCE28AAB2F}"/>
              </a:ext>
            </a:extLst>
          </p:cNvPr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CF3102EB-F9B9-1143-9E23-3112F527DD90}"/>
              </a:ext>
            </a:extLst>
          </p:cNvPr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4D84D06-D058-6E4F-822A-0988906D4DD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61A469E-ED3F-5643-941D-D33FA4BF16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8A059A4A-F24A-C440-A775-A53C26D567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8666" y="4139109"/>
            <a:ext cx="1338940" cy="600379"/>
          </a:xfrm>
          <a:prstGeom prst="rect">
            <a:avLst/>
          </a:prstGeom>
        </p:spPr>
      </p:pic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023EE441-02DB-0A49-B917-B01072C76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63669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pPr/>
              <a:t>2022/5/16</a:t>
            </a:fld>
            <a:endParaRPr lang="zh-CN" altLang="en-US" dirty="0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5167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3" r:id="rId4"/>
    <p:sldLayoutId id="2147483674" r:id="rId5"/>
    <p:sldLayoutId id="2147483675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pos="5440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pPr/>
              <a:t>2022/5/16</a:t>
            </a:fld>
            <a:endParaRPr lang="zh-CN" altLang="en-US" dirty="0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4970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2" r:id="rId4"/>
    <p:sldLayoutId id="2147483683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pos="5440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3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../media/image260.png"/></Relationships>
</file>

<file path=ppt/slides/_rels/slide18.xml.rels><?xml version="1.0" encoding="UTF-8" standalone="yes"?>
<Relationships xmlns="http://schemas.openxmlformats.org/package/2006/relationships"><Relationship Id="rId7" Type="http://schemas.openxmlformats.org/officeDocument/2006/relationships/image" Target="NULL"/><Relationship Id="rId1" Type="http://schemas.openxmlformats.org/officeDocument/2006/relationships/slideLayout" Target="../slideLayouts/slideLayout1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" Type="http://schemas.openxmlformats.org/officeDocument/2006/relationships/slideLayout" Target="../slideLayouts/slideLayout1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NUL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8.png"/><Relationship Id="rId5" Type="http://schemas.openxmlformats.org/officeDocument/2006/relationships/image" Target="../media/image310.png"/><Relationship Id="rId4" Type="http://schemas.openxmlformats.org/officeDocument/2006/relationships/image" Target="../media/image300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9.png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8.xml.rels><?xml version="1.0" encoding="UTF-8" standalone="yes"?>
<Relationships xmlns="http://schemas.openxmlformats.org/package/2006/relationships"><Relationship Id="rId7" Type="http://schemas.openxmlformats.org/officeDocument/2006/relationships/image" Target="NULL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7.xml"/><Relationship Id="rId6" Type="http://schemas.openxmlformats.org/officeDocument/2006/relationships/image" Target="NULL"/><Relationship Id="rId5" Type="http://schemas.openxmlformats.org/officeDocument/2006/relationships/image" Target="NULL"/></Relationships>
</file>

<file path=ppt/slides/_rels/slide29.xml.rels><?xml version="1.0" encoding="UTF-8" standalone="yes"?>
<Relationships xmlns="http://schemas.openxmlformats.org/package/2006/relationships"><Relationship Id="rId7" Type="http://schemas.openxmlformats.org/officeDocument/2006/relationships/image" Target="NULL"/><Relationship Id="rId1" Type="http://schemas.openxmlformats.org/officeDocument/2006/relationships/slideLayout" Target="../slideLayouts/slideLayout1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1.xml"/><Relationship Id="rId6" Type="http://schemas.openxmlformats.org/officeDocument/2006/relationships/image" Target="NULL"/><Relationship Id="rId5" Type="http://schemas.openxmlformats.org/officeDocument/2006/relationships/image" Target="NULL"/><Relationship Id="rId9" Type="http://schemas.openxmlformats.org/officeDocument/2006/relationships/image" Target="NUL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43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2.xml"/><Relationship Id="rId6" Type="http://schemas.openxmlformats.org/officeDocument/2006/relationships/image" Target="NULL"/><Relationship Id="rId5" Type="http://schemas.openxmlformats.org/officeDocument/2006/relationships/image" Target="NUL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0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1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.xml"/><Relationship Id="rId5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6.xml"/><Relationship Id="rId6" Type="http://schemas.openxmlformats.org/officeDocument/2006/relationships/image" Target="NULL"/><Relationship Id="rId5" Type="http://schemas.openxmlformats.org/officeDocument/2006/relationships/image" Target="NUL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317728" y="405304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马尔可夫决策过程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3115"/>
            <a:ext cx="5885155" cy="3683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2A218AF-4E0B-46A9-B4FA-11ABC544612C}"/>
              </a:ext>
            </a:extLst>
          </p:cNvPr>
          <p:cNvSpPr txBox="1"/>
          <p:nvPr/>
        </p:nvSpPr>
        <p:spPr>
          <a:xfrm>
            <a:off x="2317728" y="730136"/>
            <a:ext cx="58873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强化学习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2022</a:t>
            </a:r>
          </a:p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第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2</a:t>
            </a:r>
            <a:r>
              <a:rPr lang="zh-CN" altLang="en-US" sz="28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节</a:t>
            </a:r>
            <a:endParaRPr lang="zh-CN" altLang="en-US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61290B1-B0B9-4B1B-9B40-8F86C1E93176}"/>
              </a:ext>
            </a:extLst>
          </p:cNvPr>
          <p:cNvSpPr txBox="1"/>
          <p:nvPr/>
        </p:nvSpPr>
        <p:spPr>
          <a:xfrm>
            <a:off x="2317728" y="1785532"/>
            <a:ext cx="549214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涉及知识点：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马尔可夫决策过程、基于动态规划的强化学习、基于模型的强化学习</a:t>
            </a:r>
            <a:endParaRPr lang="zh-CN" altLang="en-US" sz="3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08745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MDP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的动态</a:t>
            </a:r>
            <a:r>
              <a:rPr lang="zh-CN" altLang="en-US" dirty="0"/>
              <a:t>性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7ABE3"/>
              </a:solidFill>
              <a:effectLst/>
              <a:uLnTx/>
              <a:uFillTx/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1282390"/>
                <a:ext cx="8137922" cy="455911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marR="0" lvl="0" indent="-285750" algn="l" defTabSz="914400" rtl="0" eaLnBrk="1" fontAlgn="auto" latinLnBrk="0" hangingPunct="1">
                  <a:lnSpc>
                    <a:spcPct val="150000"/>
                  </a:lnSpc>
                  <a:spcBef>
                    <a:spcPts val="1000"/>
                  </a:spcBef>
                  <a:spcAft>
                    <a:spcPts val="0"/>
                  </a:spcAft>
                  <a:buClr>
                    <a:srgbClr val="29AAF5"/>
                  </a:buClr>
                  <a:buSzPct val="88000"/>
                  <a:buFont typeface="Wingdings" pitchFamily="2" charset="2"/>
                  <a:buChar char="p"/>
                  <a:tabLst/>
                  <a:defRPr/>
                </a:pPr>
                <a:r>
                  <a:rPr kumimoji="0" lang="zh-CN" alt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大部分情况下，</a:t>
                </a:r>
                <a:r>
                  <a:rPr kumimoji="0" lang="zh-CN" alt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05E5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奖励只和状态相关</a:t>
                </a:r>
                <a:endPara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05E5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5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比如，在迷宫游戏中，奖励只和位置相关</a:t>
                </a: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5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围棋中，奖励只基于最终所围地盘的大小有关</a:t>
                </a: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285750" marR="0" lvl="0" indent="-285750" algn="l" defTabSz="914400" rtl="0" eaLnBrk="1" fontAlgn="auto" latinLnBrk="0" hangingPunct="1">
                  <a:lnSpc>
                    <a:spcPct val="150000"/>
                  </a:lnSpc>
                  <a:spcBef>
                    <a:spcPts val="1000"/>
                  </a:spcBef>
                  <a:spcAft>
                    <a:spcPts val="0"/>
                  </a:spcAft>
                  <a:buClr>
                    <a:srgbClr val="29AAF5"/>
                  </a:buClr>
                  <a:buSzPct val="88000"/>
                  <a:buFont typeface="Wingdings" pitchFamily="2" charset="2"/>
                  <a:buChar char="p"/>
                  <a:tabLst/>
                  <a:defRPr/>
                </a:pPr>
                <a:r>
                  <a:rPr kumimoji="0" lang="zh-CN" alt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这时，</a:t>
                </a:r>
                <a:r>
                  <a:rPr kumimoji="0" lang="zh-CN" alt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9AAF5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奖励函数</a:t>
                </a:r>
                <a:r>
                  <a:rPr kumimoji="0" lang="zh-CN" alt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</a:t>
                </a:r>
                <a14:m>
                  <m:oMath xmlns:m="http://schemas.openxmlformats.org/officeDocument/2006/math">
                    <m:r>
                      <a:rPr kumimoji="0" lang="en-US" altLang="zh-CN" sz="2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 </m:t>
                    </m:r>
                    <m:r>
                      <a:rPr kumimoji="0" lang="en-US" altLang="zh-CN" sz="20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  <m:d>
                      <m:dPr>
                        <m:ctrlPr>
                          <a:rPr kumimoji="0" lang="en-US" altLang="zh-CN" sz="20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kumimoji="0" lang="en-US" altLang="zh-CN" sz="20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</m:d>
                    <m:r>
                      <a:rPr kumimoji="0" lang="en-US" altLang="zh-C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:</m:t>
                    </m:r>
                    <m:r>
                      <a:rPr kumimoji="0" lang="en-US" altLang="zh-C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kumimoji="0" lang="en-US" altLang="zh-C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⟼</m:t>
                    </m:r>
                    <m:r>
                      <a:rPr kumimoji="0" lang="en-US" altLang="zh-C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ℝ</m:t>
                    </m:r>
                  </m:oMath>
                </a14:m>
                <a:endPara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285750" marR="0" lvl="0" indent="-285750" algn="l" defTabSz="914400" rtl="0" eaLnBrk="1" fontAlgn="auto" latinLnBrk="0" hangingPunct="1">
                  <a:lnSpc>
                    <a:spcPct val="150000"/>
                  </a:lnSpc>
                  <a:spcBef>
                    <a:spcPts val="1000"/>
                  </a:spcBef>
                  <a:spcAft>
                    <a:spcPts val="0"/>
                  </a:spcAft>
                  <a:buClr>
                    <a:srgbClr val="29AAF5"/>
                  </a:buClr>
                  <a:buSzPct val="88000"/>
                  <a:buFont typeface="Wingdings" pitchFamily="2" charset="2"/>
                  <a:buChar char="p"/>
                  <a:tabLst/>
                  <a:defRPr/>
                </a:pPr>
                <a:r>
                  <a:rPr kumimoji="0" lang="en-US" altLang="zh-CN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9AAF5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DP</a:t>
                </a:r>
                <a:r>
                  <a:rPr kumimoji="0" lang="zh-CN" alt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9AAF5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过程</a:t>
                </a:r>
                <a:r>
                  <a:rPr kumimoji="0" lang="zh-CN" alt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</a:t>
                </a:r>
                <a:endPara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50000"/>
                  </a:lnSpc>
                  <a:spcBef>
                    <a:spcPts val="1000"/>
                  </a:spcBef>
                  <a:spcAft>
                    <a:spcPts val="0"/>
                  </a:spcAft>
                  <a:buClr>
                    <a:srgbClr val="29AAF5"/>
                  </a:buClr>
                  <a:buSzPct val="88000"/>
                  <a:buFont typeface="Wingdings" pitchFamily="2" charset="2"/>
                  <a:buNone/>
                  <a:tabLst/>
                  <a:defRPr/>
                </a:pPr>
                <a:endPara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285750" marR="0" lvl="0" indent="-285750" algn="l" defTabSz="914400" rtl="0" eaLnBrk="1" fontAlgn="auto" latinLnBrk="0" hangingPunct="1">
                  <a:lnSpc>
                    <a:spcPct val="150000"/>
                  </a:lnSpc>
                  <a:spcBef>
                    <a:spcPts val="1000"/>
                  </a:spcBef>
                  <a:spcAft>
                    <a:spcPts val="0"/>
                  </a:spcAft>
                  <a:buClr>
                    <a:srgbClr val="29AAF5"/>
                  </a:buClr>
                  <a:buSzPct val="88000"/>
                  <a:buFont typeface="Wingdings" pitchFamily="2" charset="2"/>
                  <a:buChar char="p"/>
                  <a:tabLst/>
                  <a:defRPr/>
                </a:pPr>
                <a:r>
                  <a:rPr kumimoji="0" lang="zh-CN" alt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9AAF5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累积奖励</a:t>
                </a:r>
                <a:r>
                  <a:rPr kumimoji="0" lang="zh-CN" alt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</a:t>
                </a:r>
                <a:endPara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282390"/>
                <a:ext cx="8137922" cy="4559117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C1F984D2-21E0-433F-9126-14381FE084D5}"/>
                  </a:ext>
                </a:extLst>
              </p:cNvPr>
              <p:cNvSpPr txBox="1"/>
              <p:nvPr/>
            </p:nvSpPr>
            <p:spPr>
              <a:xfrm>
                <a:off x="1231180" y="4012488"/>
                <a:ext cx="6680447" cy="536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𝑠</m:t>
                        </m:r>
                      </m:e>
                      <m:sub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0    </m:t>
                        </m:r>
                      </m:sub>
                    </m:sSub>
                    <m:groupChr>
                      <m:groupChrPr>
                        <m:chr m:val="→"/>
                        <m:vertJc m:val="bot"/>
                        <m:ctrlP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</m:ctrlPr>
                      </m:groupChrPr>
                      <m:e>
                        <m:r>
                          <m:rPr>
                            <m:brk m:alnAt="2"/>
                          </m:rP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 </m:t>
                        </m:r>
                        <m:sSub>
                          <m:sSubPr>
                            <m:ctrlP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m:rPr>
                                <m:brk m:alnAt="2"/>
                              </m:rP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𝑎</m:t>
                            </m:r>
                          </m:e>
                          <m:sub>
                            <m:r>
                              <m:rPr>
                                <m:brk m:alnAt="2"/>
                              </m:rP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0</m:t>
                            </m:r>
                          </m:sub>
                        </m:sSub>
                        <m:r>
                          <m:rPr>
                            <m:brk m:alnAt="2"/>
                          </m:rP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,</m:t>
                        </m:r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 </m:t>
                        </m:r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𝑅</m:t>
                        </m:r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(</m:t>
                        </m:r>
                        <m:sSub>
                          <m:sSubPr>
                            <m:ctrlP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m:rPr>
                                <m:brk m:alnAt="2"/>
                              </m:rP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𝑠</m:t>
                            </m:r>
                          </m:e>
                          <m:sub>
                            <m:r>
                              <m:rPr>
                                <m:brk m:alnAt="2"/>
                              </m:rP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0</m:t>
                            </m:r>
                          </m:sub>
                        </m:sSub>
                        <m:r>
                          <m:rPr>
                            <m:brk m:alnAt="2"/>
                          </m:rP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)</m:t>
                        </m:r>
                      </m:e>
                    </m:groupChr>
                    <m:sSub>
                      <m:sSubPr>
                        <m:ctrlP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    </m:t>
                        </m:r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𝑠</m:t>
                        </m:r>
                      </m:e>
                      <m:sub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1    </m:t>
                        </m:r>
                      </m:sub>
                    </m:sSub>
                    <m:r>
                      <a:rPr kumimoji="0" lang="en-US" altLang="zh-CN" sz="20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 </m:t>
                    </m:r>
                    <m:groupChr>
                      <m:groupChrPr>
                        <m:chr m:val="→"/>
                        <m:vertJc m:val="bot"/>
                        <m:ctrlP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</m:ctrlPr>
                      </m:groupChrPr>
                      <m:e>
                        <m:r>
                          <m:rPr>
                            <m:brk m:alnAt="2"/>
                          </m:rP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 </m:t>
                        </m:r>
                        <m:sSub>
                          <m:sSubPr>
                            <m:ctrlPr>
                              <a:rPr kumimoji="0" lang="en-US" altLang="zh-CN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m:rPr>
                                <m:brk m:alnAt="2"/>
                              </m:rPr>
                              <a:rPr kumimoji="0" lang="en-US" altLang="zh-CN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𝑎</m:t>
                            </m:r>
                          </m:e>
                          <m:sub>
                            <m: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1</m:t>
                            </m:r>
                          </m:sub>
                        </m:sSub>
                        <m:r>
                          <m:rPr>
                            <m:brk m:alnAt="2"/>
                          </m:rP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,</m:t>
                        </m:r>
                        <m: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 </m:t>
                        </m:r>
                        <m: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𝑅</m:t>
                        </m:r>
                        <m: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(</m:t>
                        </m:r>
                        <m:sSub>
                          <m:sSubPr>
                            <m:ctrlPr>
                              <a:rPr kumimoji="0" lang="en-US" altLang="zh-CN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m:rPr>
                                <m:brk m:alnAt="2"/>
                              </m:rPr>
                              <a:rPr kumimoji="0" lang="en-US" altLang="zh-CN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1</m:t>
                            </m:r>
                          </m:sub>
                        </m:sSub>
                        <m:r>
                          <m:rPr>
                            <m:brk m:alnAt="2"/>
                          </m:rP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)</m:t>
                        </m:r>
                      </m:e>
                    </m:groupChr>
                  </m:oMath>
                </a14:m>
                <a:r>
                  <a:rPr kumimoji="0" lang="en-US" altLang="zh-CN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Cambria Math" panose="02040503050406030204" pitchFamily="18" charset="0"/>
                    <a:cs typeface="+mn-cs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    </m:t>
                        </m:r>
                        <m: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𝑠</m:t>
                        </m:r>
                      </m:e>
                      <m:sub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2     </m:t>
                        </m:r>
                      </m:sub>
                    </m:sSub>
                    <m:groupChr>
                      <m:groupChrPr>
                        <m:chr m:val="→"/>
                        <m:vertJc m:val="bot"/>
                        <m:ctrlP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</m:ctrlPr>
                      </m:groupChrPr>
                      <m:e>
                        <m:r>
                          <m:rPr>
                            <m:brk m:alnAt="2"/>
                          </m:rP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 </m:t>
                        </m:r>
                        <m:sSub>
                          <m:sSubPr>
                            <m:ctrlPr>
                              <a:rPr kumimoji="0" lang="en-US" altLang="zh-CN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m:rPr>
                                <m:brk m:alnAt="2"/>
                              </m:rPr>
                              <a:rPr kumimoji="0" lang="en-US" altLang="zh-CN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𝑎</m:t>
                            </m:r>
                          </m:e>
                          <m:sub>
                            <m: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2</m:t>
                            </m:r>
                          </m:sub>
                        </m:sSub>
                        <m:r>
                          <m:rPr>
                            <m:brk m:alnAt="2"/>
                          </m:rP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,</m:t>
                        </m:r>
                        <m: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 </m:t>
                        </m:r>
                        <m: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𝑅</m:t>
                        </m:r>
                        <m: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(</m:t>
                        </m:r>
                        <m:sSub>
                          <m:sSubPr>
                            <m:ctrlPr>
                              <a:rPr kumimoji="0" lang="en-US" altLang="zh-CN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m:rPr>
                                <m:brk m:alnAt="2"/>
                              </m:rPr>
                              <a:rPr kumimoji="0" lang="en-US" altLang="zh-CN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2</m:t>
                            </m:r>
                          </m:sub>
                        </m:sSub>
                        <m:r>
                          <m:rPr>
                            <m:brk m:alnAt="2"/>
                          </m:rP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)</m:t>
                        </m:r>
                      </m:e>
                    </m:groupChr>
                    <m:sSub>
                      <m:sSubPr>
                        <m:ctrlP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    </m:t>
                        </m:r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𝑠</m:t>
                        </m:r>
                      </m:e>
                      <m:sub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3</m:t>
                        </m:r>
                      </m:sub>
                    </m:sSub>
                    <m:r>
                      <a:rPr kumimoji="0" lang="en-US" altLang="zh-CN" sz="20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    ⋅⋅⋅</m:t>
                    </m:r>
                  </m:oMath>
                </a14:m>
                <a:endParaRPr kumimoji="0" lang="zh-CN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微软雅黑"/>
                  <a:cs typeface="+mn-cs"/>
                </a:endParaRPr>
              </a:p>
            </p:txBody>
          </p:sp>
        </mc:Choice>
        <mc:Fallback xmlns="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C1F984D2-21E0-433F-9126-14381FE084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80" y="4012488"/>
                <a:ext cx="6680447" cy="53649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F44968CB-E544-40D8-B076-D2B166DB4519}"/>
                  </a:ext>
                </a:extLst>
              </p:cNvPr>
              <p:cNvSpPr txBox="1"/>
              <p:nvPr/>
            </p:nvSpPr>
            <p:spPr>
              <a:xfrm>
                <a:off x="1231180" y="5175500"/>
                <a:ext cx="668044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𝑅</m:t>
                      </m:r>
                      <m:d>
                        <m:dPr>
                          <m:ctrlP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𝑠</m:t>
                              </m:r>
                            </m:e>
                            <m:sub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0</m:t>
                              </m:r>
                            </m:sub>
                          </m:sSub>
                        </m:e>
                      </m:d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+</m:t>
                      </m:r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𝛾</m:t>
                      </m:r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𝑅</m:t>
                      </m:r>
                      <m:d>
                        <m:dPr>
                          <m:ctrlP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𝑠</m:t>
                              </m:r>
                            </m:e>
                            <m:sub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+</m:t>
                      </m:r>
                      <m:sSup>
                        <m:sSupPr>
                          <m:ctrlP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sSupPr>
                        <m:e>
                          <m: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𝛾</m:t>
                          </m:r>
                        </m:e>
                        <m:sup>
                          <m: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2</m:t>
                          </m:r>
                        </m:sup>
                      </m:sSup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𝑅</m:t>
                      </m:r>
                      <m:d>
                        <m:dPr>
                          <m:ctrlP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𝑠</m:t>
                              </m:r>
                            </m:e>
                            <m:sub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+  ⋅⋅⋅</m:t>
                      </m:r>
                    </m:oMath>
                  </m:oMathPara>
                </a14:m>
                <a:endParaRPr kumimoji="0" lang="zh-CN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微软雅黑"/>
                  <a:cs typeface="+mn-cs"/>
                </a:endParaRPr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F44968CB-E544-40D8-B076-D2B166DB45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80" y="5175500"/>
                <a:ext cx="6680447" cy="400110"/>
              </a:xfrm>
              <a:prstGeom prst="rect">
                <a:avLst/>
              </a:prstGeom>
              <a:blipFill>
                <a:blip r:embed="rId6"/>
                <a:stretch>
                  <a:fillRect b="-1363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4994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BFF3AE4-8046-4605-B662-E89627CD93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23E9AB6F-438B-41A7-81A7-2B4296DBB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9488" y="2"/>
            <a:ext cx="7860877" cy="1028699"/>
          </a:xfrm>
        </p:spPr>
        <p:txBody>
          <a:bodyPr/>
          <a:lstStyle/>
          <a:p>
            <a:r>
              <a:rPr lang="en-US" altLang="zh-CN" dirty="0"/>
              <a:t>REVIEW: </a:t>
            </a:r>
            <a:r>
              <a:rPr lang="zh-CN" altLang="en-US" dirty="0"/>
              <a:t>在与</a:t>
            </a:r>
            <a:r>
              <a:rPr lang="zh-CN" altLang="en-US" dirty="0">
                <a:solidFill>
                  <a:srgbClr val="00B0F0"/>
                </a:solidFill>
              </a:rPr>
              <a:t>动态环境</a:t>
            </a:r>
            <a:r>
              <a:rPr lang="zh-CN" altLang="en-US" dirty="0"/>
              <a:t>的交互中学习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5672FC1-8402-4A53-BAB9-D0F8CE1D729B}"/>
              </a:ext>
            </a:extLst>
          </p:cNvPr>
          <p:cNvSpPr txBox="1"/>
          <p:nvPr/>
        </p:nvSpPr>
        <p:spPr>
          <a:xfrm>
            <a:off x="1738859" y="2046158"/>
            <a:ext cx="12410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Model</a:t>
            </a:r>
            <a:endParaRPr lang="zh-CN" altLang="en-US" sz="2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9" name="箭头: 左 8">
            <a:extLst>
              <a:ext uri="{FF2B5EF4-FFF2-40B4-BE49-F238E27FC236}">
                <a16:creationId xmlns:a16="http://schemas.microsoft.com/office/drawing/2014/main" id="{31EF9B8E-207C-4B8E-9B97-0FC7AA7AD76F}"/>
              </a:ext>
            </a:extLst>
          </p:cNvPr>
          <p:cNvSpPr/>
          <p:nvPr/>
        </p:nvSpPr>
        <p:spPr>
          <a:xfrm>
            <a:off x="3290341" y="2165864"/>
            <a:ext cx="944380" cy="320821"/>
          </a:xfrm>
          <a:prstGeom prst="leftArrow">
            <a:avLst>
              <a:gd name="adj1" fmla="val 23950"/>
              <a:gd name="adj2" fmla="val 82562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98A489BD-6668-4090-B5C2-00CC1249FD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7405" y="1497115"/>
            <a:ext cx="3612668" cy="1614254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0E4CD07C-4D83-4503-99C3-20ED1E11C079}"/>
              </a:ext>
            </a:extLst>
          </p:cNvPr>
          <p:cNvSpPr txBox="1"/>
          <p:nvPr/>
        </p:nvSpPr>
        <p:spPr>
          <a:xfrm>
            <a:off x="5720373" y="3140440"/>
            <a:ext cx="173637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2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Fixed Data</a:t>
            </a:r>
            <a:endParaRPr lang="zh-CN" altLang="en-US" sz="24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6AEA91E4-4A8A-4BAB-8D83-C48982A210BF}"/>
              </a:ext>
            </a:extLst>
          </p:cNvPr>
          <p:cNvSpPr txBox="1"/>
          <p:nvPr/>
        </p:nvSpPr>
        <p:spPr>
          <a:xfrm>
            <a:off x="1738859" y="4766873"/>
            <a:ext cx="11993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gent</a:t>
            </a:r>
            <a:endParaRPr lang="zh-CN" altLang="en-US" sz="2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3" name="箭头: 左右 12">
            <a:extLst>
              <a:ext uri="{FF2B5EF4-FFF2-40B4-BE49-F238E27FC236}">
                <a16:creationId xmlns:a16="http://schemas.microsoft.com/office/drawing/2014/main" id="{4BE25DB4-CC2B-48C0-9F1E-0FFAE6FF6C00}"/>
              </a:ext>
            </a:extLst>
          </p:cNvPr>
          <p:cNvSpPr/>
          <p:nvPr/>
        </p:nvSpPr>
        <p:spPr>
          <a:xfrm>
            <a:off x="3245871" y="4881940"/>
            <a:ext cx="1139253" cy="314793"/>
          </a:xfrm>
          <a:prstGeom prst="leftRightArrow">
            <a:avLst>
              <a:gd name="adj1" fmla="val 20953"/>
              <a:gd name="adj2" fmla="val 80431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B45283F7-BE76-4FA8-9E1A-E3948861F2F5}"/>
              </a:ext>
            </a:extLst>
          </p:cNvPr>
          <p:cNvSpPr txBox="1"/>
          <p:nvPr/>
        </p:nvSpPr>
        <p:spPr>
          <a:xfrm>
            <a:off x="4889220" y="5936105"/>
            <a:ext cx="339868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2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ynamic Environment</a:t>
            </a:r>
            <a:endParaRPr lang="zh-CN" altLang="en-US" sz="24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A0DA9774-7606-4051-A449-FCBFD8E531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6201" y="3954008"/>
            <a:ext cx="2158220" cy="1949619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5C4EC2B7-7936-4124-BCD5-051674FF32A5}"/>
              </a:ext>
            </a:extLst>
          </p:cNvPr>
          <p:cNvSpPr txBox="1"/>
          <p:nvPr/>
        </p:nvSpPr>
        <p:spPr>
          <a:xfrm>
            <a:off x="547141" y="1289155"/>
            <a:ext cx="33586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有监督、无监督学习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CA5D35D1-F385-4FF9-B6F1-7F4E3C0C95F7}"/>
              </a:ext>
            </a:extLst>
          </p:cNvPr>
          <p:cNvSpPr txBox="1"/>
          <p:nvPr/>
        </p:nvSpPr>
        <p:spPr>
          <a:xfrm>
            <a:off x="562131" y="4129791"/>
            <a:ext cx="15953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强化学习</a:t>
            </a:r>
          </a:p>
        </p:txBody>
      </p:sp>
    </p:spTree>
    <p:extLst>
      <p:ext uri="{BB962C8B-B14F-4D97-AF65-F5344CB8AC3E}">
        <p14:creationId xmlns:p14="http://schemas.microsoft.com/office/powerpoint/2010/main" val="238075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: 圆角 9">
            <a:extLst>
              <a:ext uri="{FF2B5EF4-FFF2-40B4-BE49-F238E27FC236}">
                <a16:creationId xmlns:a16="http://schemas.microsoft.com/office/drawing/2014/main" id="{81F2AAF9-1F41-42E0-B584-2B5A524E23E9}"/>
              </a:ext>
            </a:extLst>
          </p:cNvPr>
          <p:cNvSpPr/>
          <p:nvPr/>
        </p:nvSpPr>
        <p:spPr>
          <a:xfrm>
            <a:off x="831954" y="1214203"/>
            <a:ext cx="5561351" cy="1813810"/>
          </a:xfrm>
          <a:prstGeom prst="roundRect">
            <a:avLst>
              <a:gd name="adj" fmla="val 6750"/>
            </a:avLst>
          </a:prstGeom>
          <a:solidFill>
            <a:schemeClr val="bg1"/>
          </a:solidFill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DA89EFC-5727-4A14-BF6A-4E8E6668D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52E50B0D-D2D1-4AB7-89B0-78D67A4C34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和动态环境交互产生的数据分布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8E91F8A9-034C-4E58-ACD7-144AD9C395F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2444" y="3304338"/>
            <a:ext cx="8137922" cy="703341"/>
          </a:xfrm>
        </p:spPr>
        <p:txBody>
          <a:bodyPr>
            <a:normAutofit/>
          </a:bodyPr>
          <a:lstStyle/>
          <a:p>
            <a:r>
              <a:rPr lang="zh-CN" altLang="en-US" sz="2000" dirty="0"/>
              <a:t>给定同一个动态环境（即</a:t>
            </a:r>
            <a:r>
              <a:rPr lang="en-US" altLang="zh-CN" sz="2000" dirty="0"/>
              <a:t>MDP</a:t>
            </a:r>
            <a:r>
              <a:rPr lang="zh-CN" altLang="en-US" sz="2000" dirty="0"/>
              <a:t>），不同的策略采样出来的</a:t>
            </a:r>
            <a:r>
              <a:rPr lang="en-US" altLang="zh-CN" sz="2000" dirty="0"/>
              <a:t>(</a:t>
            </a:r>
            <a:r>
              <a:rPr lang="zh-CN" altLang="en-US" sz="2000" dirty="0"/>
              <a:t>状态</a:t>
            </a:r>
            <a:r>
              <a:rPr lang="en-US" altLang="zh-CN" sz="2000" dirty="0"/>
              <a:t>-</a:t>
            </a:r>
            <a:r>
              <a:rPr lang="zh-CN" altLang="en-US" sz="2000" dirty="0"/>
              <a:t>行动</a:t>
            </a:r>
            <a:r>
              <a:rPr lang="en-US" altLang="zh-CN" sz="2000" dirty="0"/>
              <a:t>)</a:t>
            </a:r>
            <a:r>
              <a:rPr lang="zh-CN" altLang="en-US" sz="2000" dirty="0"/>
              <a:t>对的分布是不同的</a:t>
            </a:r>
            <a:endParaRPr lang="en-US" altLang="zh-CN" sz="2000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55A3937-030A-4D0D-986C-E50E03ED110A}"/>
              </a:ext>
            </a:extLst>
          </p:cNvPr>
          <p:cNvSpPr txBox="1"/>
          <p:nvPr/>
        </p:nvSpPr>
        <p:spPr>
          <a:xfrm>
            <a:off x="1019757" y="1848866"/>
            <a:ext cx="11993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gent</a:t>
            </a:r>
            <a:endParaRPr lang="zh-CN" altLang="en-US" sz="2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箭头: 左右 6">
            <a:extLst>
              <a:ext uri="{FF2B5EF4-FFF2-40B4-BE49-F238E27FC236}">
                <a16:creationId xmlns:a16="http://schemas.microsoft.com/office/drawing/2014/main" id="{EAC0EDE7-C67D-464F-AC6C-890DC12BC846}"/>
              </a:ext>
            </a:extLst>
          </p:cNvPr>
          <p:cNvSpPr/>
          <p:nvPr/>
        </p:nvSpPr>
        <p:spPr>
          <a:xfrm>
            <a:off x="2653400" y="2001409"/>
            <a:ext cx="856724" cy="236726"/>
          </a:xfrm>
          <a:prstGeom prst="leftRightArrow">
            <a:avLst>
              <a:gd name="adj1" fmla="val 20953"/>
              <a:gd name="adj2" fmla="val 80431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0554785-AB0B-4F82-817B-525A995CC31D}"/>
              </a:ext>
            </a:extLst>
          </p:cNvPr>
          <p:cNvSpPr txBox="1"/>
          <p:nvPr/>
        </p:nvSpPr>
        <p:spPr>
          <a:xfrm>
            <a:off x="3540103" y="2545576"/>
            <a:ext cx="25987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ynamic Environment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C9CE7B55-5A8A-42EC-9117-7FF871E115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0115" y="1490528"/>
            <a:ext cx="1138765" cy="1028699"/>
          </a:xfrm>
          <a:prstGeom prst="rect">
            <a:avLst/>
          </a:prstGeom>
        </p:spPr>
      </p:pic>
      <p:sp>
        <p:nvSpPr>
          <p:cNvPr id="11" name="箭头: 右 10">
            <a:extLst>
              <a:ext uri="{FF2B5EF4-FFF2-40B4-BE49-F238E27FC236}">
                <a16:creationId xmlns:a16="http://schemas.microsoft.com/office/drawing/2014/main" id="{71341A66-DFE3-4284-888C-B723531358C7}"/>
              </a:ext>
            </a:extLst>
          </p:cNvPr>
          <p:cNvSpPr/>
          <p:nvPr/>
        </p:nvSpPr>
        <p:spPr>
          <a:xfrm>
            <a:off x="6393305" y="2001187"/>
            <a:ext cx="759991" cy="267710"/>
          </a:xfrm>
          <a:prstGeom prst="rightArrow">
            <a:avLst>
              <a:gd name="adj1" fmla="val 23976"/>
              <a:gd name="adj2" fmla="val 76024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63A8C3DD-CBEB-4DC7-9B30-3773962A9911}"/>
              </a:ext>
            </a:extLst>
          </p:cNvPr>
          <p:cNvSpPr txBox="1"/>
          <p:nvPr/>
        </p:nvSpPr>
        <p:spPr>
          <a:xfrm>
            <a:off x="7770512" y="2545576"/>
            <a:ext cx="7072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ata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47CF1698-E19D-49A2-8CB9-3E1E7FA0FC2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2316" r="63226"/>
          <a:stretch/>
        </p:blipFill>
        <p:spPr>
          <a:xfrm>
            <a:off x="7580383" y="1544687"/>
            <a:ext cx="984426" cy="92921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F8C7DA2C-E4B2-4610-8642-E5F52DC7ACA6}"/>
                  </a:ext>
                </a:extLst>
              </p:cNvPr>
              <p:cNvSpPr txBox="1"/>
              <p:nvPr/>
            </p:nvSpPr>
            <p:spPr>
              <a:xfrm>
                <a:off x="1231180" y="4859826"/>
                <a:ext cx="6680447" cy="7772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20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𝜌</m:t>
                          </m:r>
                        </m:e>
                        <m:sup>
                          <m:r>
                            <a:rPr lang="zh-CN" altLang="en-US" sz="20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altLang="zh-CN" sz="20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𝔼</m:t>
                          </m:r>
                        </m:e>
                        <m:sub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~</m:t>
                          </m:r>
                          <m:r>
                            <a:rPr lang="zh-CN" alt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  <m:d>
                            <m:dPr>
                              <m:ctrl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   </m:t>
                          </m:r>
                          <m:sSup>
                            <m:sSupPr>
                              <m:ctrl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~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limLoc m:val="subSup"/>
                              <m:ctrl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𝛾</m:t>
                                  </m:r>
                                </m:e>
                                <m:sup>
                                  <m: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p>
                              </m:sSup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𝑝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e>
                      </m:d>
                    </m:oMath>
                  </m:oMathPara>
                </a14:m>
                <a:endParaRPr kumimoji="0" lang="zh-CN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微软雅黑"/>
                  <a:cs typeface="+mn-cs"/>
                </a:endParaRPr>
              </a:p>
            </p:txBody>
          </p:sp>
        </mc:Choice>
        <mc:Fallback xmlns="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F8C7DA2C-E4B2-4610-8642-E5F52DC7AC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80" y="4859826"/>
                <a:ext cx="6680447" cy="77726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内容占位符 4">
            <a:extLst>
              <a:ext uri="{FF2B5EF4-FFF2-40B4-BE49-F238E27FC236}">
                <a16:creationId xmlns:a16="http://schemas.microsoft.com/office/drawing/2014/main" id="{086B4CED-C4BC-4A08-87E2-E7EE4B2B41BA}"/>
              </a:ext>
            </a:extLst>
          </p:cNvPr>
          <p:cNvSpPr txBox="1">
            <a:spLocks/>
          </p:cNvSpPr>
          <p:nvPr/>
        </p:nvSpPr>
        <p:spPr>
          <a:xfrm>
            <a:off x="502444" y="4253200"/>
            <a:ext cx="8137922" cy="7033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 dirty="0"/>
              <a:t>占用度量（</a:t>
            </a:r>
            <a:r>
              <a:rPr lang="en-US" altLang="zh-CN" sz="2000" dirty="0"/>
              <a:t>Occupancy Measure</a:t>
            </a:r>
            <a:r>
              <a:rPr lang="zh-CN" altLang="en-US" sz="2000" dirty="0"/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3391006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DA89EFC-5727-4A14-BF6A-4E8E6668D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52E50B0D-D2D1-4AB7-89B0-78D67A4C34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占用度量和策略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8E91F8A9-034C-4E58-ACD7-144AD9C395F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3039" y="1371601"/>
            <a:ext cx="8137922" cy="442209"/>
          </a:xfrm>
        </p:spPr>
        <p:txBody>
          <a:bodyPr>
            <a:normAutofit/>
          </a:bodyPr>
          <a:lstStyle/>
          <a:p>
            <a:r>
              <a:rPr lang="zh-CN" altLang="en-US" sz="2000" dirty="0"/>
              <a:t>占用度量（</a:t>
            </a:r>
            <a:r>
              <a:rPr lang="en-US" altLang="zh-CN" sz="2000" dirty="0"/>
              <a:t>Occupancy Measure</a:t>
            </a:r>
            <a:r>
              <a:rPr lang="zh-CN" altLang="en-US" sz="2000" dirty="0"/>
              <a:t>）</a:t>
            </a:r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E4A907CB-A7CA-4052-ADDC-0DA12F7822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6490468" cy="206381"/>
          </a:xfrm>
        </p:spPr>
        <p:txBody>
          <a:bodyPr/>
          <a:lstStyle/>
          <a:p>
            <a:r>
              <a:rPr lang="en-US" altLang="zh-CN" dirty="0"/>
              <a:t>U. Syed, M. Bowling, and R. E. </a:t>
            </a:r>
            <a:r>
              <a:rPr lang="en-US" altLang="zh-CN" dirty="0" err="1"/>
              <a:t>Schapire</a:t>
            </a:r>
            <a:r>
              <a:rPr lang="en-US" altLang="zh-CN" dirty="0"/>
              <a:t>. Apprenticeship learning using linear programming. ICML 2008.</a:t>
            </a:r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F8C7DA2C-E4B2-4610-8642-E5F52DC7ACA6}"/>
                  </a:ext>
                </a:extLst>
              </p:cNvPr>
              <p:cNvSpPr txBox="1"/>
              <p:nvPr/>
            </p:nvSpPr>
            <p:spPr>
              <a:xfrm>
                <a:off x="1231180" y="1813810"/>
                <a:ext cx="6680447" cy="7772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20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𝜌</m:t>
                          </m:r>
                        </m:e>
                        <m:sup>
                          <m:r>
                            <a:rPr lang="zh-CN" altLang="en-US" sz="20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altLang="zh-CN" sz="20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𝔼</m:t>
                          </m:r>
                        </m:e>
                        <m:sub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~</m:t>
                          </m:r>
                          <m:r>
                            <a:rPr lang="zh-CN" alt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  <m:d>
                            <m:dPr>
                              <m:ctrl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∙|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   </m:t>
                          </m:r>
                          <m:sSup>
                            <m:sSupPr>
                              <m:ctrl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~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∙|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limLoc m:val="subSup"/>
                              <m:ctrl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𝛾</m:t>
                                  </m:r>
                                </m:e>
                                <m:sup>
                                  <m: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p>
                              </m:sSup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𝑝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e>
                      </m:d>
                    </m:oMath>
                  </m:oMathPara>
                </a14:m>
                <a:endParaRPr kumimoji="0" lang="zh-CN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微软雅黑"/>
                  <a:cs typeface="+mn-cs"/>
                </a:endParaRPr>
              </a:p>
            </p:txBody>
          </p:sp>
        </mc:Choice>
        <mc:Fallback xmlns="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F8C7DA2C-E4B2-4610-8642-E5F52DC7AC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80" y="1813810"/>
                <a:ext cx="6680447" cy="77726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4">
                <a:extLst>
                  <a:ext uri="{FF2B5EF4-FFF2-40B4-BE49-F238E27FC236}">
                    <a16:creationId xmlns:a16="http://schemas.microsoft.com/office/drawing/2014/main" id="{7DE9206E-8E5F-4520-A3CF-4D3E87FE150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4" y="2960106"/>
                <a:ext cx="8137922" cy="85489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171442" indent="-171442" algn="l" defTabSz="685766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defRPr>
                </a:lvl1pPr>
                <a:lvl2pPr marL="514325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defRPr>
                </a:lvl2pPr>
                <a:lvl3pPr marL="857207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defRPr>
                </a:lvl3pPr>
                <a:lvl4pPr marL="1200090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050" kern="120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defRPr>
                </a:lvl4pPr>
                <a:lvl5pPr marL="1542974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050" kern="120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defRPr>
                </a:lvl5pPr>
                <a:lvl6pPr marL="1885856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739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622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505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2000" dirty="0"/>
                  <a:t>定理</a:t>
                </a:r>
                <a:r>
                  <a:rPr lang="en-US" altLang="zh-CN" sz="2000" dirty="0"/>
                  <a:t>1</a:t>
                </a:r>
                <a:r>
                  <a:rPr lang="zh-CN" altLang="en-US" sz="2000" dirty="0"/>
                  <a:t>：和同一个动态环境交互的两个策略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00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i="1" dirty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b>
                        <m:r>
                          <a:rPr lang="en-US" altLang="zh-CN" sz="2000" b="0" i="1" dirty="0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zh-CN" altLang="en-US" sz="2000" i="1" dirty="0">
                        <a:latin typeface="Cambria Math" panose="02040503050406030204" pitchFamily="18" charset="0"/>
                      </a:rPr>
                      <m:t>和</m:t>
                    </m:r>
                    <m:sSub>
                      <m:sSubPr>
                        <m:ctrlPr>
                          <a:rPr lang="en-US" altLang="zh-CN" sz="20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i="1" dirty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b>
                        <m:r>
                          <a:rPr lang="en-US" altLang="zh-CN" sz="2000" b="0" i="1" dirty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zh-CN" altLang="en-US" sz="2000" i="1" dirty="0" smtClean="0">
                        <a:latin typeface="Cambria Math" panose="02040503050406030204" pitchFamily="18" charset="0"/>
                      </a:rPr>
                      <m:t>得到</m:t>
                    </m:r>
                  </m:oMath>
                </a14:m>
                <a:r>
                  <a:rPr lang="zh-CN" altLang="en-US" sz="2000" dirty="0"/>
                  <a:t>的占用度量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𝜌</m:t>
                        </m:r>
                      </m:e>
                      <m:sup>
                        <m:sSub>
                          <m:sSubPr>
                            <m:ctrlPr>
                              <a:rPr lang="en-US" altLang="zh-CN" sz="2000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000" i="1" dirty="0">
                                <a:latin typeface="Cambria Math" panose="02040503050406030204" pitchFamily="18" charset="0"/>
                              </a:rPr>
                              <m:t>𝜋</m:t>
                            </m:r>
                          </m:e>
                          <m:sub>
                            <m:r>
                              <a:rPr lang="en-US" altLang="zh-CN" sz="2000" i="1" dirty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sup>
                    </m:sSup>
                  </m:oMath>
                </a14:m>
                <a:r>
                  <a:rPr lang="zh-CN" altLang="en-US" sz="2000" dirty="0"/>
                  <a:t>和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𝜌</m:t>
                        </m:r>
                      </m:e>
                      <m:sup>
                        <m:sSub>
                          <m:sSubPr>
                            <m:ctrlPr>
                              <a:rPr lang="en-US" altLang="zh-CN" sz="2000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000" i="1" dirty="0">
                                <a:latin typeface="Cambria Math" panose="02040503050406030204" pitchFamily="18" charset="0"/>
                              </a:rPr>
                              <m:t>𝜋</m:t>
                            </m:r>
                          </m:e>
                          <m:sub>
                            <m:r>
                              <a:rPr lang="en-US" altLang="zh-CN" sz="2000" b="0" i="1" dirty="0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sup>
                    </m:sSup>
                    <m:r>
                      <a:rPr lang="zh-CN" altLang="en-US" sz="2000" i="1" dirty="0">
                        <a:latin typeface="Cambria Math" panose="02040503050406030204" pitchFamily="18" charset="0"/>
                      </a:rPr>
                      <m:t>满足</m:t>
                    </m:r>
                  </m:oMath>
                </a14:m>
                <a:endParaRPr lang="en-US" altLang="zh-CN" sz="2000" dirty="0"/>
              </a:p>
            </p:txBody>
          </p:sp>
        </mc:Choice>
        <mc:Fallback xmlns="">
          <p:sp>
            <p:nvSpPr>
              <p:cNvPr id="15" name="内容占位符 4">
                <a:extLst>
                  <a:ext uri="{FF2B5EF4-FFF2-40B4-BE49-F238E27FC236}">
                    <a16:creationId xmlns:a16="http://schemas.microsoft.com/office/drawing/2014/main" id="{7DE9206E-8E5F-4520-A3CF-4D3E87FE15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4" y="2960106"/>
                <a:ext cx="8137922" cy="854891"/>
              </a:xfrm>
              <a:prstGeom prst="rect">
                <a:avLst/>
              </a:prstGeom>
              <a:blipFill>
                <a:blip r:embed="rId3"/>
                <a:stretch>
                  <a:fillRect l="-674" t="-785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内容占位符 4">
                <a:extLst>
                  <a:ext uri="{FF2B5EF4-FFF2-40B4-BE49-F238E27FC236}">
                    <a16:creationId xmlns:a16="http://schemas.microsoft.com/office/drawing/2014/main" id="{8802620C-42B4-4082-B5A6-C092C379604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4" y="4533848"/>
                <a:ext cx="8137922" cy="42744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171442" indent="-171442" algn="l" defTabSz="685766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defRPr>
                </a:lvl1pPr>
                <a:lvl2pPr marL="514325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defRPr>
                </a:lvl2pPr>
                <a:lvl3pPr marL="857207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defRPr>
                </a:lvl3pPr>
                <a:lvl4pPr marL="1200090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050" kern="120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defRPr>
                </a:lvl4pPr>
                <a:lvl5pPr marL="1542974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050" kern="120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defRPr>
                </a:lvl5pPr>
                <a:lvl6pPr marL="1885856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739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622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505" indent="-171442" algn="l" defTabSz="685766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2000" dirty="0"/>
                  <a:t>定理</a:t>
                </a:r>
                <a:r>
                  <a:rPr lang="en-US" altLang="zh-CN" sz="2000" dirty="0"/>
                  <a:t>2</a:t>
                </a:r>
                <a:r>
                  <a:rPr lang="zh-CN" altLang="en-US" sz="2000" dirty="0"/>
                  <a:t>：给定一占用度量</a:t>
                </a:r>
                <a14:m>
                  <m:oMath xmlns:m="http://schemas.openxmlformats.org/officeDocument/2006/math">
                    <m:r>
                      <a:rPr lang="zh-CN" altLang="en-US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𝜌</m:t>
                    </m:r>
                    <m:r>
                      <a:rPr lang="zh-CN" altLang="en-US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，</m:t>
                    </m:r>
                  </m:oMath>
                </a14:m>
                <a:r>
                  <a:rPr lang="zh-CN" altLang="en-US" sz="2000" dirty="0"/>
                  <a:t>可生成该占用度量的唯一策略是</a:t>
                </a:r>
              </a:p>
              <a:p>
                <a:endParaRPr lang="en-US" altLang="zh-CN" sz="2000" dirty="0"/>
              </a:p>
            </p:txBody>
          </p:sp>
        </mc:Choice>
        <mc:Fallback xmlns="">
          <p:sp>
            <p:nvSpPr>
              <p:cNvPr id="16" name="内容占位符 4">
                <a:extLst>
                  <a:ext uri="{FF2B5EF4-FFF2-40B4-BE49-F238E27FC236}">
                    <a16:creationId xmlns:a16="http://schemas.microsoft.com/office/drawing/2014/main" id="{8802620C-42B4-4082-B5A6-C092C379604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4" y="4533848"/>
                <a:ext cx="8137922" cy="427446"/>
              </a:xfrm>
              <a:prstGeom prst="rect">
                <a:avLst/>
              </a:prstGeom>
              <a:blipFill>
                <a:blip r:embed="rId4"/>
                <a:stretch>
                  <a:fillRect l="-674" t="-14286" b="-1285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650F1B33-63C2-4B85-BE40-ACF27569C4C8}"/>
                  </a:ext>
                </a:extLst>
              </p:cNvPr>
              <p:cNvSpPr/>
              <p:nvPr/>
            </p:nvSpPr>
            <p:spPr>
              <a:xfrm>
                <a:off x="3451547" y="4965651"/>
                <a:ext cx="2071913" cy="75988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0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 dirty="0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zh-CN" alt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𝜌</m:t>
                          </m:r>
                        </m:sub>
                      </m:sSub>
                      <m:r>
                        <a:rPr lang="en-US" altLang="zh-CN" sz="2000" i="1" dirty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altLang="zh-CN" sz="2000" i="1" dirty="0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𝜌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nary>
                            <m:naryPr>
                              <m:chr m:val="∑"/>
                              <m:limLoc m:val="subSup"/>
                              <m:supHide m:val="on"/>
                              <m:ctrlPr>
                                <a:rPr lang="en-US" altLang="zh-CN" sz="2000" i="1" dirty="0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sz="2000" b="0" i="1" dirty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m:rPr>
                                      <m:brk m:alnAt="9"/>
                                    </m:rPr>
                                    <a:rPr lang="en-US" altLang="zh-CN" sz="2000" b="0" i="1" dirty="0" smtClean="0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sz="2000" b="0" i="1" dirty="0" smtClean="0">
                                      <a:latin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  <m:sup/>
                            <m:e>
                              <m:r>
                                <a:rPr lang="zh-CN" alt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𝜌</m:t>
                              </m:r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′</m:t>
                              </m:r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den>
                      </m:f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650F1B33-63C2-4B85-BE40-ACF27569C4C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51547" y="4965651"/>
                <a:ext cx="2071913" cy="75988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DE419C0E-6BA4-48BF-ADB6-8488F072E294}"/>
                  </a:ext>
                </a:extLst>
              </p:cNvPr>
              <p:cNvSpPr txBox="1"/>
              <p:nvPr/>
            </p:nvSpPr>
            <p:spPr>
              <a:xfrm>
                <a:off x="2286000" y="3737370"/>
                <a:ext cx="4572000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20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𝜌</m:t>
                          </m:r>
                        </m:e>
                        <m:sup>
                          <m:sSub>
                            <m:sSubPr>
                              <m:ctrlPr>
                                <a:rPr lang="en-US" altLang="zh-CN" sz="2000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 dirty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sz="2000" i="1" dirty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p>
                      </m:sSup>
                      <m:r>
                        <a:rPr lang="en-US" altLang="zh-CN" sz="2000" b="0" i="1" dirty="0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𝜌</m:t>
                          </m:r>
                        </m:e>
                        <m:sup>
                          <m:sSub>
                            <m:sSubPr>
                              <m:ctrlPr>
                                <a:rPr lang="en-US" altLang="zh-CN" sz="2000" i="1" dirty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 dirty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sz="2000" b="0" i="1" dirty="0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sup>
                      </m:sSup>
                      <m:r>
                        <a:rPr lang="en-US" altLang="zh-CN" sz="2000" b="0" i="1" dirty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zh-CN" sz="2000" b="0" i="0" dirty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altLang="zh-CN" sz="2000" b="0" i="0" dirty="0" smtClean="0">
                          <a:latin typeface="Cambria Math" panose="02040503050406030204" pitchFamily="18" charset="0"/>
                        </a:rPr>
                        <m:t>iff</m:t>
                      </m:r>
                      <m:r>
                        <a:rPr lang="en-US" altLang="zh-CN" sz="2000" b="0" i="0" dirty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zh-CN" sz="2000" b="0" i="1" dirty="0" smtClean="0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US" altLang="zh-CN" sz="20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 dirty="0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en-US" altLang="zh-CN" sz="2000" i="1" dirty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sz="2000" b="0" i="1" dirty="0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sz="20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 dirty="0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en-US" altLang="zh-CN" sz="2000" b="0" i="1" dirty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DE419C0E-6BA4-48BF-ADB6-8488F072E2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6000" y="3737370"/>
                <a:ext cx="4572000" cy="400110"/>
              </a:xfrm>
              <a:prstGeom prst="rect">
                <a:avLst/>
              </a:prstGeom>
              <a:blipFill>
                <a:blip r:embed="rId6"/>
                <a:stretch>
                  <a:fillRect b="-1060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37045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DA89EFC-5727-4A14-BF6A-4E8E6668D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52E50B0D-D2D1-4AB7-89B0-78D67A4C34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占用度量和策略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8E91F8A9-034C-4E58-ACD7-144AD9C395F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3039" y="1371601"/>
            <a:ext cx="8137922" cy="442209"/>
          </a:xfrm>
        </p:spPr>
        <p:txBody>
          <a:bodyPr>
            <a:normAutofit/>
          </a:bodyPr>
          <a:lstStyle/>
          <a:p>
            <a:r>
              <a:rPr lang="zh-CN" altLang="en-US" sz="2000" dirty="0"/>
              <a:t>占用度量（</a:t>
            </a:r>
            <a:r>
              <a:rPr lang="en-US" altLang="zh-CN" sz="2000" dirty="0"/>
              <a:t>Occupancy Measure</a:t>
            </a:r>
            <a:r>
              <a:rPr lang="zh-CN" altLang="en-US" sz="2000" dirty="0"/>
              <a:t>）</a:t>
            </a:r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E4A907CB-A7CA-4052-ADDC-0DA12F7822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6490468" cy="206381"/>
          </a:xfrm>
        </p:spPr>
        <p:txBody>
          <a:bodyPr/>
          <a:lstStyle/>
          <a:p>
            <a:r>
              <a:rPr lang="en-US" altLang="zh-CN" dirty="0"/>
              <a:t>U. Syed, M. Bowling, and R. E. </a:t>
            </a:r>
            <a:r>
              <a:rPr lang="en-US" altLang="zh-CN" dirty="0" err="1"/>
              <a:t>Schapire</a:t>
            </a:r>
            <a:r>
              <a:rPr lang="en-US" altLang="zh-CN" dirty="0"/>
              <a:t>. Apprenticeship learning using linear programming. ICML 2008.</a:t>
            </a:r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F8C7DA2C-E4B2-4610-8642-E5F52DC7ACA6}"/>
                  </a:ext>
                </a:extLst>
              </p:cNvPr>
              <p:cNvSpPr txBox="1"/>
              <p:nvPr/>
            </p:nvSpPr>
            <p:spPr>
              <a:xfrm>
                <a:off x="1231180" y="1813810"/>
                <a:ext cx="6680447" cy="7772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20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𝜌</m:t>
                          </m:r>
                        </m:e>
                        <m:sup>
                          <m:r>
                            <a:rPr lang="zh-CN" altLang="en-US" sz="20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altLang="zh-CN" sz="20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sz="2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𝔼</m:t>
                          </m:r>
                        </m:e>
                        <m:sub>
                          <m:r>
                            <a:rPr lang="en-US" altLang="zh-CN" sz="2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sz="2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~</m:t>
                          </m:r>
                          <m:r>
                            <a:rPr lang="zh-CN" altLang="en-US" sz="2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  <m:d>
                            <m:dPr>
                              <m:ctrlPr>
                                <a:rPr lang="en-US" altLang="zh-CN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∙|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  <m:r>
                            <a:rPr lang="en-US" altLang="zh-CN" sz="2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   </m:t>
                          </m:r>
                          <m:sSup>
                            <m:sSupPr>
                              <m:ctrlPr>
                                <a:rPr lang="en-US" altLang="zh-CN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sz="2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~</m:t>
                          </m:r>
                          <m:r>
                            <a:rPr lang="en-US" altLang="zh-CN" sz="2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  <m:r>
                            <a:rPr lang="en-US" altLang="zh-CN" sz="2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∙|</m:t>
                          </m:r>
                          <m:r>
                            <a:rPr lang="en-US" altLang="zh-CN" sz="2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2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sz="2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2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limLoc m:val="subSup"/>
                              <m:ctrlPr>
                                <a:rPr lang="en-US" altLang="zh-CN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lang="en-US" altLang="zh-CN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en-US" altLang="zh-CN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altLang="zh-CN" sz="2000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2000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𝛾</m:t>
                                  </m:r>
                                </m:e>
                                <m:sup>
                                  <m:r>
                                    <a:rPr lang="en-US" altLang="zh-CN" sz="2000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p>
                              </m:sSup>
                              <m:r>
                                <a:rPr lang="en-US" altLang="zh-CN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𝑝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altLang="zh-CN" sz="2000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e>
                      </m:d>
                    </m:oMath>
                  </m:oMathPara>
                </a14:m>
                <a:endParaRPr kumimoji="0" lang="zh-CN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微软雅黑"/>
                  <a:cs typeface="+mn-cs"/>
                </a:endParaRPr>
              </a:p>
            </p:txBody>
          </p:sp>
        </mc:Choice>
        <mc:Fallback xmlns="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F8C7DA2C-E4B2-4610-8642-E5F52DC7AC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80" y="1813810"/>
                <a:ext cx="6680447" cy="77726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83735775-018E-4006-A682-931D5F220514}"/>
                  </a:ext>
                </a:extLst>
              </p:cNvPr>
              <p:cNvSpPr txBox="1"/>
              <p:nvPr/>
            </p:nvSpPr>
            <p:spPr>
              <a:xfrm>
                <a:off x="956860" y="2955336"/>
                <a:ext cx="6680447" cy="7772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20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𝜌</m:t>
                          </m:r>
                        </m:e>
                        <m:sup>
                          <m:r>
                            <a:rPr lang="zh-CN" altLang="en-US" sz="20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sz="20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𝔼</m:t>
                          </m:r>
                        </m:e>
                        <m:sub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~</m:t>
                          </m:r>
                          <m:r>
                            <a:rPr lang="zh-CN" alt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  <m:d>
                            <m:dPr>
                              <m:ctrl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∙|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   </m:t>
                          </m:r>
                          <m:sSup>
                            <m:sSupPr>
                              <m:ctrl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~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∙|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limLoc m:val="subSup"/>
                              <m:ctrl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𝛾</m:t>
                                  </m:r>
                                </m:e>
                                <m:sup>
                                  <m: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p>
                              </m:sSup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𝑝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e>
                      </m:d>
                    </m:oMath>
                  </m:oMathPara>
                </a14:m>
                <a:endPara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微软雅黑"/>
                  <a:cs typeface="+mn-cs"/>
                </a:endParaRPr>
              </a:p>
            </p:txBody>
          </p:sp>
        </mc:Choice>
        <mc:Fallback xmlns="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83735775-018E-4006-A682-931D5F2205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6860" y="2955336"/>
                <a:ext cx="6680447" cy="77726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401D24CC-D14B-4BFB-B5F9-3EC785DD0D3F}"/>
                  </a:ext>
                </a:extLst>
              </p:cNvPr>
              <p:cNvSpPr txBox="1"/>
              <p:nvPr/>
            </p:nvSpPr>
            <p:spPr>
              <a:xfrm>
                <a:off x="1620982" y="3796386"/>
                <a:ext cx="6943827" cy="7772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𝔼</m:t>
                          </m:r>
                        </m:e>
                        <m:sub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~</m:t>
                          </m:r>
                          <m:r>
                            <a:rPr lang="zh-CN" alt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  <m:d>
                            <m:dPr>
                              <m:ctrl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∙|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   </m:t>
                          </m:r>
                          <m:sSup>
                            <m:sSupPr>
                              <m:ctrl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~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∙|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limLoc m:val="subSup"/>
                              <m:ctrl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𝛾</m:t>
                                  </m:r>
                                </m:e>
                                <m:sup>
                                  <m: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p>
                              </m:sSup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𝑝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  <m:nary>
                                <m:naryPr>
                                  <m:chr m:val="∑"/>
                                  <m:limLoc m:val="subSup"/>
                                  <m:supHide m:val="on"/>
                                  <m:ctrlP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sSup>
                                    <m:sSupPr>
                                      <m:ctrlPr>
                                        <a:rPr lang="en-US" altLang="zh-CN" sz="2000" b="0" i="1" smtClean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m:rPr>
                                          <m:brk m:alnAt="9"/>
                                        </m:rPr>
                                        <a:rPr lang="en-US" altLang="zh-CN" sz="2000" b="0" i="1" smtClean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𝑎</m:t>
                                      </m:r>
                                    </m:e>
                                    <m:sup>
                                      <m:r>
                                        <a:rPr lang="en-US" altLang="zh-CN" sz="2000" b="0" i="1" smtClean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</m:sub>
                                <m:sup/>
                                <m:e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𝑝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</m:t>
                                  </m:r>
                                  <m:sSub>
                                    <m:sSubPr>
                                      <m:ctrlPr>
                                        <a:rPr lang="en-US" altLang="zh-CN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sSub>
                                        <m:sSubPr>
                                          <m:ctrlPr>
                                            <a:rPr lang="en-US" altLang="zh-CN" sz="2000" b="0" i="1" smtClean="0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2000" b="0" i="1" smtClean="0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𝑎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2000" b="0" i="1" smtClean="0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</m:sub>
                                      </m:sSub>
                                      <m:r>
                                        <a:rPr lang="en-US" altLang="zh-CN" sz="2000" b="0" i="1" smtClean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=</m:t>
                                      </m:r>
                                      <m:r>
                                        <a:rPr lang="en-US" altLang="zh-CN" sz="2000" b="0" i="1" smtClean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𝑎</m:t>
                                      </m:r>
                                      <m:r>
                                        <a:rPr lang="en-US" altLang="zh-CN" sz="2000" b="0" i="1" smtClean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′|</m:t>
                                      </m:r>
                                      <m:r>
                                        <a:rPr lang="en-US" altLang="zh-CN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</m:nary>
                            </m:e>
                          </m:nary>
                        </m:e>
                      </m:d>
                    </m:oMath>
                  </m:oMathPara>
                </a14:m>
                <a:endPara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微软雅黑"/>
                  <a:cs typeface="+mn-cs"/>
                </a:endParaRPr>
              </a:p>
            </p:txBody>
          </p:sp>
        </mc:Choice>
        <mc:Fallback xmlns="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401D24CC-D14B-4BFB-B5F9-3EC785DD0D3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0982" y="3796386"/>
                <a:ext cx="6943827" cy="777264"/>
              </a:xfrm>
              <a:prstGeom prst="rect">
                <a:avLst/>
              </a:prstGeom>
              <a:blipFill>
                <a:blip r:embed="rId4"/>
                <a:stretch>
                  <a:fillRect r="-26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58E5698F-B710-42E0-8DE0-9982A4773579}"/>
                  </a:ext>
                </a:extLst>
              </p:cNvPr>
              <p:cNvSpPr txBox="1"/>
              <p:nvPr/>
            </p:nvSpPr>
            <p:spPr>
              <a:xfrm>
                <a:off x="1231180" y="4665658"/>
                <a:ext cx="6943827" cy="7772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subSup"/>
                          <m:supHide m:val="on"/>
                          <m:ctrlP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sSup>
                            <m:sSupPr>
                              <m:ctrlP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brk m:alnAt="9"/>
                                </m:rP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sub>
                        <m:sup/>
                        <m:e>
                          <m:sSub>
                            <m:sSubPr>
                              <m:ctrlPr>
                                <a:rPr lang="en-US" altLang="zh-CN" sz="200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𝔼</m:t>
                              </m:r>
                            </m:e>
                            <m:sub>
                              <m:r>
                                <a:rPr lang="en-US" altLang="zh-CN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~</m:t>
                              </m:r>
                              <m:r>
                                <a:rPr lang="zh-CN" altLang="en-US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𝜋</m:t>
                              </m:r>
                              <m:d>
                                <m:dPr>
                                  <m:ctrlP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∙|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</m:d>
                              <m:r>
                                <a:rPr lang="en-US" altLang="zh-CN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   </m:t>
                              </m:r>
                              <m:sSup>
                                <m:sSupPr>
                                  <m:ctrlP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~</m:t>
                              </m:r>
                              <m:r>
                                <a:rPr lang="en-US" altLang="zh-CN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𝑝</m:t>
                              </m:r>
                              <m:r>
                                <a:rPr lang="en-US" altLang="zh-CN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∙|</m:t>
                              </m:r>
                              <m:r>
                                <a:rPr lang="en-US" altLang="zh-CN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altLang="zh-CN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altLang="zh-CN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</m:sub>
                          </m:sSub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limLoc m:val="subSup"/>
                                  <m:ctrlP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5"/>
                                    </m:rP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  <m:e>
                                  <m:sSup>
                                    <m:sSupPr>
                                      <m:ctrlP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zh-CN" altLang="en-US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𝛾</m:t>
                                      </m:r>
                                    </m:e>
                                    <m:sup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</m:sup>
                                  </m:sSup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𝑝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</m:t>
                                  </m:r>
                                  <m:sSub>
                                    <m:sSubPr>
                                      <m:ctrlP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sSub>
                                    <m:sSubPr>
                                      <m:ctrlP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sz="2000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𝑎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′)) </m:t>
                                  </m:r>
                                </m:e>
                              </m:nary>
                            </m:e>
                          </m:d>
                        </m:e>
                      </m:nary>
                    </m:oMath>
                  </m:oMathPara>
                </a14:m>
                <a:endPara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微软雅黑"/>
                  <a:cs typeface="+mn-cs"/>
                </a:endParaRPr>
              </a:p>
            </p:txBody>
          </p:sp>
        </mc:Choice>
        <mc:Fallback xmlns=""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58E5698F-B710-42E0-8DE0-9982A47735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80" y="4665658"/>
                <a:ext cx="6943827" cy="77726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EF5CE954-28AC-46A5-BABC-CDA6D8FBE791}"/>
                  </a:ext>
                </a:extLst>
              </p:cNvPr>
              <p:cNvSpPr txBox="1"/>
              <p:nvPr/>
            </p:nvSpPr>
            <p:spPr>
              <a:xfrm>
                <a:off x="1221971" y="5456831"/>
                <a:ext cx="2671982" cy="6612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subSup"/>
                          <m:supHide m:val="on"/>
                          <m:ctrlP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sSup>
                            <m:sSupPr>
                              <m:ctrlP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brk m:alnAt="9"/>
                                </m:rP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sub>
                        <m:sup/>
                        <m:e>
                          <m:sSup>
                            <m:sSupPr>
                              <m:ctrlP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𝜌</m:t>
                              </m:r>
                            </m:e>
                            <m:sup>
                              <m:r>
                                <a:rPr lang="zh-CN" alt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′</m:t>
                              </m:r>
                            </m:e>
                          </m:d>
                        </m:e>
                      </m:nary>
                    </m:oMath>
                  </m:oMathPara>
                </a14:m>
                <a:endPara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微软雅黑"/>
                  <a:cs typeface="+mn-cs"/>
                </a:endParaRPr>
              </a:p>
            </p:txBody>
          </p:sp>
        </mc:Choice>
        <mc:Fallback xmlns=""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EF5CE954-28AC-46A5-BABC-CDA6D8FBE7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21971" y="5456831"/>
                <a:ext cx="2671982" cy="66127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内容占位符 4">
            <a:extLst>
              <a:ext uri="{FF2B5EF4-FFF2-40B4-BE49-F238E27FC236}">
                <a16:creationId xmlns:a16="http://schemas.microsoft.com/office/drawing/2014/main" id="{E0C7B210-6A90-48C1-BE43-14DD8DB8299D}"/>
              </a:ext>
            </a:extLst>
          </p:cNvPr>
          <p:cNvSpPr txBox="1">
            <a:spLocks/>
          </p:cNvSpPr>
          <p:nvPr/>
        </p:nvSpPr>
        <p:spPr>
          <a:xfrm>
            <a:off x="503039" y="2717611"/>
            <a:ext cx="8137922" cy="4422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 dirty="0"/>
              <a:t>状态占用度量</a:t>
            </a:r>
          </a:p>
        </p:txBody>
      </p:sp>
    </p:spTree>
    <p:extLst>
      <p:ext uri="{BB962C8B-B14F-4D97-AF65-F5344CB8AC3E}">
        <p14:creationId xmlns:p14="http://schemas.microsoft.com/office/powerpoint/2010/main" val="2772928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DA89EFC-5727-4A14-BF6A-4E8E6668D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52E50B0D-D2D1-4AB7-89B0-78D67A4C34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占用度量和累计奖励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8E91F8A9-034C-4E58-ACD7-144AD9C395F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3039" y="1371601"/>
            <a:ext cx="8137922" cy="442209"/>
          </a:xfrm>
        </p:spPr>
        <p:txBody>
          <a:bodyPr>
            <a:normAutofit/>
          </a:bodyPr>
          <a:lstStyle/>
          <a:p>
            <a:r>
              <a:rPr lang="zh-CN" altLang="en-US" sz="2000" dirty="0"/>
              <a:t>占用度量（</a:t>
            </a:r>
            <a:r>
              <a:rPr lang="en-US" altLang="zh-CN" sz="2000" dirty="0"/>
              <a:t>Occupancy Measure</a:t>
            </a:r>
            <a:r>
              <a:rPr lang="zh-CN" altLang="en-US" sz="2000" dirty="0"/>
              <a:t>）</a:t>
            </a:r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E4A907CB-A7CA-4052-ADDC-0DA12F7822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6490468" cy="206381"/>
          </a:xfrm>
        </p:spPr>
        <p:txBody>
          <a:bodyPr/>
          <a:lstStyle/>
          <a:p>
            <a:r>
              <a:rPr lang="en-US" altLang="zh-CN" dirty="0"/>
              <a:t>U. Syed, M. Bowling, and R. E. </a:t>
            </a:r>
            <a:r>
              <a:rPr lang="en-US" altLang="zh-CN" dirty="0" err="1"/>
              <a:t>Schapire</a:t>
            </a:r>
            <a:r>
              <a:rPr lang="en-US" altLang="zh-CN" dirty="0"/>
              <a:t>. Apprenticeship learning using linear programming. ICML 2008.</a:t>
            </a:r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F8C7DA2C-E4B2-4610-8642-E5F52DC7ACA6}"/>
                  </a:ext>
                </a:extLst>
              </p:cNvPr>
              <p:cNvSpPr txBox="1"/>
              <p:nvPr/>
            </p:nvSpPr>
            <p:spPr>
              <a:xfrm>
                <a:off x="1231180" y="1813810"/>
                <a:ext cx="6680447" cy="7772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20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𝜌</m:t>
                          </m:r>
                        </m:e>
                        <m:sup>
                          <m:r>
                            <a:rPr lang="zh-CN" altLang="en-US" sz="20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altLang="zh-CN" sz="20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𝔼</m:t>
                          </m:r>
                        </m:e>
                        <m:sub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~</m:t>
                          </m:r>
                          <m:r>
                            <a:rPr lang="zh-CN" alt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  <m:d>
                            <m:dPr>
                              <m:ctrl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∙|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   </m:t>
                          </m:r>
                          <m:sSup>
                            <m:sSupPr>
                              <m:ctrl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~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∙|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limLoc m:val="subSup"/>
                              <m:ctrl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𝛾</m:t>
                                  </m:r>
                                </m:e>
                                <m:sup>
                                  <m: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p>
                              </m:sSup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𝑝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e>
                      </m:d>
                    </m:oMath>
                  </m:oMathPara>
                </a14:m>
                <a:endParaRPr kumimoji="0" lang="zh-CN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微软雅黑"/>
                  <a:cs typeface="+mn-cs"/>
                </a:endParaRPr>
              </a:p>
            </p:txBody>
          </p:sp>
        </mc:Choice>
        <mc:Fallback xmlns="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F8C7DA2C-E4B2-4610-8642-E5F52DC7AC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80" y="1813810"/>
                <a:ext cx="6680447" cy="77726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内容占位符 4">
            <a:extLst>
              <a:ext uri="{FF2B5EF4-FFF2-40B4-BE49-F238E27FC236}">
                <a16:creationId xmlns:a16="http://schemas.microsoft.com/office/drawing/2014/main" id="{7DE9206E-8E5F-4520-A3CF-4D3E87FE150C}"/>
              </a:ext>
            </a:extLst>
          </p:cNvPr>
          <p:cNvSpPr txBox="1">
            <a:spLocks/>
          </p:cNvSpPr>
          <p:nvPr/>
        </p:nvSpPr>
        <p:spPr>
          <a:xfrm>
            <a:off x="502444" y="2960106"/>
            <a:ext cx="8137922" cy="8548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 defTabSz="914400">
              <a:lnSpc>
                <a:spcPct val="150000"/>
              </a:lnSpc>
              <a:spcBef>
                <a:spcPts val="1000"/>
              </a:spcBef>
              <a:buClr>
                <a:srgbClr val="29AAF5"/>
              </a:buClr>
              <a:buSzPct val="88000"/>
              <a:buFont typeface="Wingdings" pitchFamily="2" charset="2"/>
              <a:buChar char="p"/>
              <a:defRPr/>
            </a:pPr>
            <a:r>
              <a:rPr lang="zh-CN" altLang="en-US" sz="2000" dirty="0">
                <a:solidFill>
                  <a:srgbClr val="000000"/>
                </a:solidFill>
              </a:rPr>
              <a:t>策略的累积奖励为</a:t>
            </a:r>
            <a:endParaRPr lang="en-US" altLang="zh-CN" sz="2000" dirty="0">
              <a:solidFill>
                <a:srgbClr val="00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B609FCE3-2722-46A8-9B55-BE0FBDBBDEF3}"/>
                  </a:ext>
                </a:extLst>
              </p:cNvPr>
              <p:cNvSpPr txBox="1"/>
              <p:nvPr/>
            </p:nvSpPr>
            <p:spPr>
              <a:xfrm>
                <a:off x="777601" y="3627027"/>
                <a:ext cx="7787208" cy="4497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𝑉</m:t>
                      </m:r>
                      <m:d>
                        <m:dPr>
                          <m:ctrlP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dPr>
                        <m:e>
                          <m: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𝜋</m:t>
                          </m:r>
                        </m:e>
                      </m:d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=</m:t>
                      </m:r>
                      <m:sSub>
                        <m:sSubPr>
                          <m:ctrlP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𝔼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~</m:t>
                          </m:r>
                          <m:r>
                            <a:rPr lang="zh-CN" alt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  <m:d>
                            <m:dPr>
                              <m:ctrlP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∙|</m:t>
                              </m:r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   </m:t>
                          </m:r>
                          <m:sSup>
                            <m:sSupPr>
                              <m:ctrlP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~</m:t>
                          </m:r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∙|</m:t>
                          </m:r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sub>
                      </m:sSub>
                      <m:r>
                        <a:rPr lang="en-US" altLang="zh-CN" sz="20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[</m:t>
                      </m:r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𝑅</m:t>
                      </m:r>
                      <m:d>
                        <m:dPr>
                          <m:ctrlP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𝑠</m:t>
                              </m:r>
                            </m:e>
                            <m:sub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0</m:t>
                              </m:r>
                            </m:sub>
                          </m:sSub>
                          <m: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,</m:t>
                          </m:r>
                          <m:sSub>
                            <m:sSubPr>
                              <m:ctrlP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𝑎</m:t>
                              </m:r>
                            </m:e>
                            <m:sub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0</m:t>
                              </m:r>
                            </m:sub>
                          </m:sSub>
                        </m:e>
                      </m:d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+</m:t>
                      </m:r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𝛾</m:t>
                      </m:r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𝑅</m:t>
                      </m:r>
                      <m:d>
                        <m:dPr>
                          <m:ctrlP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𝑠</m:t>
                              </m:r>
                            </m:e>
                            <m:sub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1</m:t>
                              </m:r>
                            </m:sub>
                          </m:sSub>
                          <m: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,</m:t>
                          </m:r>
                          <m:sSub>
                            <m:sSubPr>
                              <m:ctrlP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𝑎</m:t>
                              </m:r>
                            </m:e>
                            <m:sub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+</m:t>
                      </m:r>
                      <m:sSup>
                        <m:sSupPr>
                          <m:ctrlP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sSupPr>
                        <m:e>
                          <m: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𝛾</m:t>
                          </m:r>
                        </m:e>
                        <m:sup>
                          <m: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2</m:t>
                          </m:r>
                        </m:sup>
                      </m:sSup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𝑅</m:t>
                      </m:r>
                      <m:d>
                        <m:dPr>
                          <m:ctrlP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𝑠</m:t>
                              </m:r>
                            </m:e>
                            <m:sub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2</m:t>
                              </m:r>
                            </m:sub>
                          </m:sSub>
                          <m: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,</m:t>
                          </m:r>
                          <m:sSub>
                            <m:sSubPr>
                              <m:ctrlP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𝑎</m:t>
                              </m:r>
                            </m:e>
                            <m:sub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+  ⋅⋅⋅]</m:t>
                      </m:r>
                    </m:oMath>
                  </m:oMathPara>
                </a14:m>
                <a:endParaRPr kumimoji="0" lang="zh-CN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微软雅黑"/>
                  <a:cs typeface="+mn-cs"/>
                </a:endParaRPr>
              </a:p>
            </p:txBody>
          </p:sp>
        </mc:Choice>
        <mc:Fallback xmlns="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B609FCE3-2722-46A8-9B55-BE0FBDBBDEF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7601" y="3627027"/>
                <a:ext cx="7787208" cy="449739"/>
              </a:xfrm>
              <a:prstGeom prst="rect">
                <a:avLst/>
              </a:prstGeom>
              <a:blipFill>
                <a:blip r:embed="rId3"/>
                <a:stretch>
                  <a:fillRect b="-810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F90446C0-99E9-45C6-B941-A759BE887D1D}"/>
                  </a:ext>
                </a:extLst>
              </p:cNvPr>
              <p:cNvSpPr txBox="1"/>
              <p:nvPr/>
            </p:nvSpPr>
            <p:spPr>
              <a:xfrm>
                <a:off x="1458686" y="4160570"/>
                <a:ext cx="6823497" cy="7772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=</m:t>
                      </m:r>
                      <m:nary>
                        <m:naryPr>
                          <m:chr m:val="∑"/>
                          <m:limLoc m:val="subSup"/>
                          <m:supHide m:val="on"/>
                          <m:ctrlP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naryPr>
                        <m:sub>
                          <m:r>
                            <m:rPr>
                              <m:brk m:alnAt="9"/>
                            </m:rP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𝑠</m:t>
                          </m:r>
                          <m: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,</m:t>
                          </m:r>
                          <m: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𝑎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𝔼</m:t>
                              </m:r>
                            </m:e>
                            <m:sub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~</m:t>
                              </m:r>
                              <m:r>
                                <a:rPr lang="zh-CN" alt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𝜋</m:t>
                              </m:r>
                              <m:d>
                                <m:dPr>
                                  <m:ctrlP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∙|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</m:d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   </m:t>
                              </m:r>
                              <m:sSup>
                                <m:sSupPr>
                                  <m:ctrlP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~</m:t>
                              </m:r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𝑝</m:t>
                              </m:r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∙|</m:t>
                              </m:r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</m:sub>
                          </m:sSub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limLoc m:val="subSup"/>
                                  <m:ctrlP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5"/>
                                    </m:rP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  <m:e>
                                  <m:sSup>
                                    <m:sSupPr>
                                      <m:ctrlPr>
                                        <a:rPr lang="en-US" altLang="zh-CN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zh-CN" altLang="en-US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𝛾</m:t>
                                      </m:r>
                                    </m:e>
                                    <m:sup>
                                      <m:r>
                                        <a:rPr lang="en-US" altLang="zh-CN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</m:sup>
                                  </m:sSup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𝑝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</m:t>
                                  </m:r>
                                  <m:sSub>
                                    <m:sSubPr>
                                      <m:ctrlPr>
                                        <a:rPr lang="en-US" altLang="zh-CN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sSub>
                                    <m:sSubPr>
                                      <m:ctrlPr>
                                        <a:rPr lang="en-US" altLang="zh-CN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=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𝑎</m:t>
                                  </m:r>
                                  <m:r>
                                    <a:rPr lang="en-US" altLang="zh-CN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</m:nary>
                            </m:e>
                          </m:d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d>
                        </m:e>
                      </m:nary>
                    </m:oMath>
                  </m:oMathPara>
                </a14:m>
                <a:endParaRPr kumimoji="0" lang="zh-CN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微软雅黑"/>
                  <a:cs typeface="+mn-cs"/>
                </a:endParaRPr>
              </a:p>
            </p:txBody>
          </p:sp>
        </mc:Choice>
        <mc:Fallback xmlns=""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F90446C0-99E9-45C6-B941-A759BE887D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58686" y="4160570"/>
                <a:ext cx="6823497" cy="77726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3873E203-B997-4F50-9EAD-DF7AC36C3C78}"/>
                  </a:ext>
                </a:extLst>
              </p:cNvPr>
              <p:cNvSpPr txBox="1"/>
              <p:nvPr/>
            </p:nvSpPr>
            <p:spPr>
              <a:xfrm>
                <a:off x="1231180" y="5016541"/>
                <a:ext cx="3074814" cy="6848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=</m:t>
                      </m:r>
                      <m:nary>
                        <m:naryPr>
                          <m:chr m:val="∑"/>
                          <m:limLoc m:val="subSup"/>
                          <m:supHide m:val="on"/>
                          <m:ctrlP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naryPr>
                        <m:sub>
                          <m:r>
                            <m:rPr>
                              <m:brk m:alnAt="9"/>
                            </m:rP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𝑠</m:t>
                          </m:r>
                          <m: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,</m:t>
                          </m:r>
                          <m: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𝑎</m:t>
                          </m:r>
                        </m:sub>
                        <m:sup/>
                        <m:e>
                          <m:sSup>
                            <m:sSupPr>
                              <m:ctrlP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𝜌</m:t>
                              </m:r>
                            </m:e>
                            <m:sup>
                              <m:r>
                                <a:rPr lang="zh-CN" alt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e>
                          </m:d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altLang="zh-CN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altLang="zh-CN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d>
                        </m:e>
                      </m:nary>
                    </m:oMath>
                  </m:oMathPara>
                </a14:m>
                <a:endParaRPr kumimoji="0" lang="zh-CN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微软雅黑"/>
                  <a:cs typeface="+mn-cs"/>
                </a:endParaRPr>
              </a:p>
            </p:txBody>
          </p:sp>
        </mc:Choice>
        <mc:Fallback xmlns=""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3873E203-B997-4F50-9EAD-DF7AC36C3C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80" y="5016541"/>
                <a:ext cx="3074814" cy="68486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12DADBBA-30A1-4D92-80E1-0A625B26836A}"/>
                  </a:ext>
                </a:extLst>
              </p:cNvPr>
              <p:cNvSpPr txBox="1"/>
              <p:nvPr/>
            </p:nvSpPr>
            <p:spPr>
              <a:xfrm>
                <a:off x="3383135" y="5114379"/>
                <a:ext cx="3074814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nor/>
                        </m:rPr>
                        <a:rPr lang="en-US" altLang="zh-CN" sz="2000" dirty="0">
                          <a:solidFill>
                            <a:srgbClr val="000000"/>
                          </a:solidFill>
                          <a:ea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𝔼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sub>
                      </m:sSub>
                      <m:r>
                        <a:rPr lang="en-US" altLang="zh-CN" sz="20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[</m:t>
                      </m:r>
                      <m:r>
                        <a:rPr lang="en-US" altLang="zh-CN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𝑅</m:t>
                      </m:r>
                      <m:d>
                        <m:dPr>
                          <m:ctrlP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altLang="zh-CN" sz="20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kumimoji="0" lang="zh-CN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微软雅黑"/>
                  <a:cs typeface="+mn-cs"/>
                </a:endParaRPr>
              </a:p>
            </p:txBody>
          </p:sp>
        </mc:Choice>
        <mc:Fallback xmlns=""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12DADBBA-30A1-4D92-80E1-0A625B2683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83135" y="5114379"/>
                <a:ext cx="3074814" cy="400110"/>
              </a:xfrm>
              <a:prstGeom prst="rect">
                <a:avLst/>
              </a:prstGeom>
              <a:blipFill>
                <a:blip r:embed="rId6"/>
                <a:stretch>
                  <a:fillRect b="-16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文本框 5">
            <a:extLst>
              <a:ext uri="{FF2B5EF4-FFF2-40B4-BE49-F238E27FC236}">
                <a16:creationId xmlns:a16="http://schemas.microsoft.com/office/drawing/2014/main" id="{9D7E7EEC-C97C-4821-B358-8B5F6B8D61A7}"/>
              </a:ext>
            </a:extLst>
          </p:cNvPr>
          <p:cNvSpPr txBox="1"/>
          <p:nvPr/>
        </p:nvSpPr>
        <p:spPr>
          <a:xfrm>
            <a:off x="4305994" y="5684213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强化学习中的简写</a:t>
            </a:r>
          </a:p>
        </p:txBody>
      </p:sp>
    </p:spTree>
    <p:extLst>
      <p:ext uri="{BB962C8B-B14F-4D97-AF65-F5344CB8AC3E}">
        <p14:creationId xmlns:p14="http://schemas.microsoft.com/office/powerpoint/2010/main" val="1154572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基于动态规划的强化学习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C4C85E48-DBA7-46B6-AEE8-007C8B59CEE6}"/>
              </a:ext>
            </a:extLst>
          </p:cNvPr>
          <p:cNvSpPr txBox="1"/>
          <p:nvPr/>
        </p:nvSpPr>
        <p:spPr>
          <a:xfrm>
            <a:off x="2317728" y="4643267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讲师：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MDP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目标和策略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1028700"/>
                <a:ext cx="8137922" cy="565023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目标：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选择能够最大化累积奖励期望的动作</a:t>
                </a:r>
                <a:endParaRPr lang="en-US" altLang="zh-CN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∈[0,1]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是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未来奖励的折扣因子，使得和未来奖励相比起来智能体更重视即时奖励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以金融为例，今天的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$1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比明天的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$1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有价值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给定一个特定的策略 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: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→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即，在状态 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下采取动作 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b="0" i="0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给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定义</m:t>
                    </m:r>
                  </m:oMath>
                </a14:m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价值函数</a:t>
                </a:r>
                <a:endParaRPr lang="en-US" altLang="zh-CN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即，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给定起始状态和根据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采取动作时的累积奖励期望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028700"/>
                <a:ext cx="8137922" cy="5650234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E3A5D8FE-A925-483D-B8BC-A1739DC3A352}"/>
                  </a:ext>
                </a:extLst>
              </p:cNvPr>
              <p:cNvSpPr txBox="1"/>
              <p:nvPr/>
            </p:nvSpPr>
            <p:spPr>
              <a:xfrm>
                <a:off x="1231179" y="1657289"/>
                <a:ext cx="668044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𝔼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[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𝑅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zh-CN" altLang="zh-CN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+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𝑅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zh-CN" altLang="zh-CN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+</m:t>
                      </m:r>
                      <m:sSup>
                        <m:sSupPr>
                          <m:ctrlPr>
                            <a:rPr lang="zh-CN" altLang="zh-CN" sz="20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</m:e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𝑅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zh-CN" altLang="zh-CN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+⋯]</m:t>
                      </m:r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E3A5D8FE-A925-483D-B8BC-A1739DC3A3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79" y="1657289"/>
                <a:ext cx="6680447" cy="400110"/>
              </a:xfrm>
              <a:prstGeom prst="rect">
                <a:avLst/>
              </a:prstGeom>
              <a:blipFill>
                <a:blip r:embed="rId5"/>
                <a:stretch>
                  <a:fillRect b="-1846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B8A5D99-5182-4091-BAC2-CA336E3FEA2F}"/>
                  </a:ext>
                </a:extLst>
              </p:cNvPr>
              <p:cNvSpPr txBox="1"/>
              <p:nvPr/>
            </p:nvSpPr>
            <p:spPr>
              <a:xfrm>
                <a:off x="1231179" y="5200711"/>
                <a:ext cx="668044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 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𝔼</m:t>
                      </m:r>
                      <m:d>
                        <m:dPr>
                          <m:begChr m:val="["/>
                          <m:endChr m:val="|"/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zh-CN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0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zh-CN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zh-CN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zh-CN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⋯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</m:e>
                      </m:d>
                      <m:sSub>
                        <m:sSub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𝜋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B8A5D99-5182-4091-BAC2-CA336E3FEA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79" y="5200711"/>
                <a:ext cx="6680447" cy="400110"/>
              </a:xfrm>
              <a:prstGeom prst="rect">
                <a:avLst/>
              </a:prstGeom>
              <a:blipFill>
                <a:blip r:embed="rId6"/>
                <a:stretch>
                  <a:fillRect b="-1818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0851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价值函数的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Bellman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等式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1606858"/>
                <a:ext cx="8137922" cy="423464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给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定义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价值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606858"/>
                <a:ext cx="8137922" cy="4234649"/>
              </a:xfrm>
              <a:prstGeom prst="rect">
                <a:avLst/>
              </a:prstGeom>
              <a:blipFill>
                <a:blip r:embed="rId4"/>
                <a:stretch>
                  <a:fillRect l="-449" t="-72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B8A5D99-5182-4091-BAC2-CA336E3FEA2F}"/>
                  </a:ext>
                </a:extLst>
              </p:cNvPr>
              <p:cNvSpPr txBox="1"/>
              <p:nvPr/>
            </p:nvSpPr>
            <p:spPr>
              <a:xfrm>
                <a:off x="1777476" y="2815833"/>
                <a:ext cx="6680447" cy="6771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sSup>
                        <m:sSup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zh-CN" dirty="0">
                  <a:latin typeface="Cambria Math" panose="02040503050406030204" pitchFamily="18" charset="0"/>
                </a:endParaRPr>
              </a:p>
              <a:p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B8A5D99-5182-4091-BAC2-CA336E3FEA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7476" y="2815833"/>
                <a:ext cx="6680447" cy="67710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左大括号 8">
            <a:extLst>
              <a:ext uri="{FF2B5EF4-FFF2-40B4-BE49-F238E27FC236}">
                <a16:creationId xmlns:a16="http://schemas.microsoft.com/office/drawing/2014/main" id="{AAD62E68-EE8A-4FAE-B564-7049E03C5058}"/>
              </a:ext>
            </a:extLst>
          </p:cNvPr>
          <p:cNvSpPr/>
          <p:nvPr/>
        </p:nvSpPr>
        <p:spPr>
          <a:xfrm rot="16200000">
            <a:off x="5060311" y="1579804"/>
            <a:ext cx="114779" cy="2175584"/>
          </a:xfrm>
          <a:prstGeom prst="leftBrace">
            <a:avLst>
              <a:gd name="adj1" fmla="val 8333"/>
              <a:gd name="adj2" fmla="val 50819"/>
            </a:avLst>
          </a:prstGeom>
          <a:noFill/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3EFB604C-48FE-46C1-87E9-E10255ADCAF4}"/>
                  </a:ext>
                </a:extLst>
              </p:cNvPr>
              <p:cNvSpPr txBox="1"/>
              <p:nvPr/>
            </p:nvSpPr>
            <p:spPr>
              <a:xfrm>
                <a:off x="689684" y="3186001"/>
                <a:ext cx="6680447" cy="11501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zh-CN" altLang="zh-CN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/>
                          <m:e/>
                        </m:mr>
                        <m:mr>
                          <m:e/>
                          <m:e>
                            <m:r>
                              <a:rPr lang="en-US" altLang="zh-CN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en-US" altLang="zh-CN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𝑅</m:t>
                            </m:r>
                            <m:r>
                              <a:rPr lang="en-US" altLang="zh-CN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en-US" altLang="zh-CN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𝑠</m:t>
                            </m:r>
                            <m:r>
                              <a:rPr lang="en-US" altLang="zh-CN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+</m:t>
                            </m:r>
                            <m:r>
                              <a:rPr lang="en-US" altLang="zh-CN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𝛾</m:t>
                            </m:r>
                            <m:nary>
                              <m:naryPr>
                                <m:chr m:val="∑"/>
                                <m:limLoc m:val="undOvr"/>
                                <m:grow m:val="on"/>
                                <m:supHide m:val="on"/>
                                <m:ctrlPr>
                                  <a:rPr lang="zh-CN" altLang="zh-CN" i="1">
                                    <a:latin typeface="Cambria Math" panose="02040503050406030204" pitchFamily="18" charset="0"/>
                                  </a:rPr>
                                </m:ctrlPr>
                              </m:naryPr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𝑠</m:t>
                                </m:r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′∈</m:t>
                                </m:r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𝑆</m:t>
                                </m:r>
                              </m:sub>
                              <m:sup/>
                              <m:e>
                                <m:sSub>
                                  <m:sSubPr>
                                    <m:ctrlPr>
                                      <a:rPr lang="zh-CN" altLang="zh-CN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𝑠</m:t>
                                    </m:r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𝜋</m:t>
                                    </m:r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(</m:t>
                                    </m:r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𝑠</m:t>
                                    </m:r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)</m:t>
                                    </m:r>
                                  </m:sub>
                                </m:s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𝑠</m:t>
                                </m:r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′)</m:t>
                                </m:r>
                                <m:sSup>
                                  <m:sSupPr>
                                    <m:ctrlPr>
                                      <a:rPr lang="zh-CN" altLang="zh-CN" i="1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𝑉</m:t>
                                    </m:r>
                                  </m:e>
                                  <m:sup>
                                    <m:r>
                                      <a:rPr lang="en-US" altLang="zh-CN" i="1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𝜋</m:t>
                                    </m:r>
                                  </m:sup>
                                </m:sSup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𝑠</m:t>
                                </m:r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′)</m:t>
                                </m:r>
                              </m:e>
                            </m:nary>
                          </m:e>
                        </m:mr>
                      </m:m>
                    </m:oMath>
                  </m:oMathPara>
                </a14:m>
                <a:endParaRPr lang="zh-CN" altLang="zh-CN" dirty="0">
                  <a:latin typeface="Cambria Math" panose="02040503050406030204" pitchFamily="18" charset="0"/>
                </a:endParaRPr>
              </a:p>
              <a:p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3EFB604C-48FE-46C1-87E9-E10255ADCAF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684" y="3186001"/>
                <a:ext cx="6680447" cy="115018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A9F6A8E7-13DA-4216-BF4B-04C89B440B82}"/>
                  </a:ext>
                </a:extLst>
              </p:cNvPr>
              <p:cNvSpPr txBox="1"/>
              <p:nvPr/>
            </p:nvSpPr>
            <p:spPr>
              <a:xfrm>
                <a:off x="1234513" y="2180805"/>
                <a:ext cx="6680447" cy="5879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zh-CN" altLang="zh-CN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sSup>
                              <m:sSupPr>
                                <m:ctrlPr>
                                  <a:rPr lang="zh-CN" altLang="zh-CN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𝑉</m:t>
                                </m:r>
                              </m:e>
                              <m:sup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𝜋</m:t>
                                </m:r>
                              </m:sup>
                            </m:sSup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𝑠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</m:t>
                            </m:r>
                          </m:e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𝔼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[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𝑅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zh-CN" altLang="zh-CN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0</m:t>
                                </m:r>
                              </m:sub>
                            </m:s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en-US" altLang="zh-CN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𝛾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𝑅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zh-CN" altLang="zh-CN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+</m:t>
                            </m:r>
                            <m:sSup>
                              <m:sSupPr>
                                <m:ctrlPr>
                                  <a:rPr lang="zh-CN" altLang="zh-CN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𝛾</m:t>
                                </m:r>
                              </m:e>
                              <m:sup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𝑅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zh-CN" altLang="zh-CN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+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 ⋅⋅⋅</m:t>
                            </m:r>
                            <m:r>
                              <a:rPr lang="en-US" altLang="zh-CN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|</m:t>
                            </m:r>
                            <m:sSub>
                              <m:sSubPr>
                                <m:ctrlPr>
                                  <a:rPr lang="zh-CN" altLang="zh-CN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0</m:t>
                                </m:r>
                              </m:sub>
                            </m:sSub>
                            <m:r>
                              <a:rPr lang="en-US" altLang="zh-CN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en-US" altLang="zh-CN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𝑠</m:t>
                            </m:r>
                            <m:r>
                              <a:rPr lang="en-US" altLang="zh-CN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altLang="zh-CN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𝜋</m:t>
                            </m:r>
                            <m:r>
                              <a:rPr lang="en-US" altLang="zh-CN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]</m:t>
                            </m:r>
                          </m:e>
                        </m:mr>
                        <m:mr>
                          <m:e/>
                          <m:e/>
                        </m:mr>
                      </m:m>
                    </m:oMath>
                  </m:oMathPara>
                </a14:m>
                <a:endParaRPr lang="zh-CN" altLang="zh-CN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A9F6A8E7-13DA-4216-BF4B-04C89B440B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4513" y="2180805"/>
                <a:ext cx="6680447" cy="58798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文本框 11">
            <a:extLst>
              <a:ext uri="{FF2B5EF4-FFF2-40B4-BE49-F238E27FC236}">
                <a16:creationId xmlns:a16="http://schemas.microsoft.com/office/drawing/2014/main" id="{9CACD493-6480-4A23-9E11-2EF76FA8C4B0}"/>
              </a:ext>
            </a:extLst>
          </p:cNvPr>
          <p:cNvSpPr txBox="1"/>
          <p:nvPr/>
        </p:nvSpPr>
        <p:spPr>
          <a:xfrm>
            <a:off x="6090082" y="3429000"/>
            <a:ext cx="22016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Bellman</a:t>
            </a:r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等式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28CA97DD-D8A1-405D-A860-27AC0A3D24AB}"/>
              </a:ext>
            </a:extLst>
          </p:cNvPr>
          <p:cNvSpPr txBox="1"/>
          <p:nvPr/>
        </p:nvSpPr>
        <p:spPr>
          <a:xfrm>
            <a:off x="2494921" y="4292983"/>
            <a:ext cx="11126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立即奖励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F164434A-6E84-41EF-91A2-1B93AD13961C}"/>
              </a:ext>
            </a:extLst>
          </p:cNvPr>
          <p:cNvSpPr txBox="1"/>
          <p:nvPr/>
        </p:nvSpPr>
        <p:spPr>
          <a:xfrm>
            <a:off x="3119018" y="5093025"/>
            <a:ext cx="11126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时间折扣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590BA4C0-7135-4665-A446-6431552DDF22}"/>
              </a:ext>
            </a:extLst>
          </p:cNvPr>
          <p:cNvSpPr txBox="1"/>
          <p:nvPr/>
        </p:nvSpPr>
        <p:spPr>
          <a:xfrm>
            <a:off x="3935865" y="4292983"/>
            <a:ext cx="11126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状态转移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65185076-F785-4EEF-A94E-5EA0F098D2CC}"/>
              </a:ext>
            </a:extLst>
          </p:cNvPr>
          <p:cNvSpPr txBox="1"/>
          <p:nvPr/>
        </p:nvSpPr>
        <p:spPr>
          <a:xfrm>
            <a:off x="4750699" y="5080898"/>
            <a:ext cx="21258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下一个状态的价值</a:t>
            </a:r>
          </a:p>
        </p:txBody>
      </p:sp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53C469E4-4C58-4CB1-A88D-C04004F1DEED}"/>
              </a:ext>
            </a:extLst>
          </p:cNvPr>
          <p:cNvCxnSpPr>
            <a:stCxn id="13" idx="0"/>
          </p:cNvCxnSpPr>
          <p:nvPr/>
        </p:nvCxnSpPr>
        <p:spPr>
          <a:xfrm flipH="1" flipV="1">
            <a:off x="3051257" y="3798332"/>
            <a:ext cx="1" cy="49465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82585F5F-CEBC-47B1-A072-932240AB39DB}"/>
              </a:ext>
            </a:extLst>
          </p:cNvPr>
          <p:cNvCxnSpPr>
            <a:cxnSpLocks/>
            <a:stCxn id="14" idx="0"/>
          </p:cNvCxnSpPr>
          <p:nvPr/>
        </p:nvCxnSpPr>
        <p:spPr>
          <a:xfrm flipV="1">
            <a:off x="3675355" y="3798333"/>
            <a:ext cx="0" cy="129469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05DA147B-13C1-40BF-B4C2-FC59FD5B21D9}"/>
              </a:ext>
            </a:extLst>
          </p:cNvPr>
          <p:cNvCxnSpPr>
            <a:cxnSpLocks/>
            <a:stCxn id="15" idx="0"/>
          </p:cNvCxnSpPr>
          <p:nvPr/>
        </p:nvCxnSpPr>
        <p:spPr>
          <a:xfrm flipH="1" flipV="1">
            <a:off x="4485593" y="3863109"/>
            <a:ext cx="6609" cy="42987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直接箭头连接符 23">
            <a:extLst>
              <a:ext uri="{FF2B5EF4-FFF2-40B4-BE49-F238E27FC236}">
                <a16:creationId xmlns:a16="http://schemas.microsoft.com/office/drawing/2014/main" id="{101D8B04-1932-4DED-B891-6314BA12DDEF}"/>
              </a:ext>
            </a:extLst>
          </p:cNvPr>
          <p:cNvCxnSpPr>
            <a:cxnSpLocks/>
          </p:cNvCxnSpPr>
          <p:nvPr/>
        </p:nvCxnSpPr>
        <p:spPr>
          <a:xfrm flipV="1">
            <a:off x="5304940" y="3863110"/>
            <a:ext cx="11254" cy="120897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114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最优价值函数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1112919"/>
                <a:ext cx="8137922" cy="574508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状态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来说的最优价值函数是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所有策略可获得的最大可能折扣奖励的和</a:t>
                </a:r>
                <a:endParaRPr lang="en-US" altLang="zh-CN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最优价值函数的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Bellman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等式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最优策略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状态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s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112919"/>
                <a:ext cx="8137922" cy="5745081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E3A5D8FE-A925-483D-B8BC-A1739DC3A352}"/>
                  </a:ext>
                </a:extLst>
              </p:cNvPr>
              <p:cNvSpPr txBox="1"/>
              <p:nvPr/>
            </p:nvSpPr>
            <p:spPr>
              <a:xfrm>
                <a:off x="1231177" y="2211199"/>
                <a:ext cx="6680447" cy="4949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sz="2000" b="0" i="0" smtClean="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lim>
                          </m:limLow>
                        </m:fName>
                        <m:e>
                          <m:sSup>
                            <m:sSup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sup>
                          </m:s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func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E3A5D8FE-A925-483D-B8BC-A1739DC3A3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77" y="2211199"/>
                <a:ext cx="6680447" cy="49494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B8A5D99-5182-4091-BAC2-CA336E3FEA2F}"/>
                  </a:ext>
                </a:extLst>
              </p:cNvPr>
              <p:cNvSpPr txBox="1"/>
              <p:nvPr/>
            </p:nvSpPr>
            <p:spPr>
              <a:xfrm>
                <a:off x="1231177" y="4336522"/>
                <a:ext cx="6680447" cy="8495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sz="2000" b="0" i="0" smtClean="0">
                              <a:latin typeface="Cambria Math" panose="02040503050406030204" pitchFamily="18" charset="0"/>
                            </a:rPr>
                            <m:t>arg</m:t>
                          </m:r>
                        </m:fName>
                        <m:e>
                          <m:func>
                            <m:func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sz="2000" b="0" i="0" smtClean="0">
                                      <a:latin typeface="Cambria Math" panose="02040503050406030204" pitchFamily="18" charset="0"/>
                                    </a:rPr>
                                    <m:t>max</m:t>
                                  </m:r>
                                </m:e>
                                <m:lim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∈</m:t>
                                  </m:r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</m:lim>
                              </m:limLow>
                            </m:fName>
                            <m:e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sSup>
                                    <m:sSup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∈</m:t>
                                  </m:r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</m:sub>
                                <m:sup/>
                                <m:e>
                                  <m:sSub>
                                    <m:sSub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𝑃</m:t>
                                      </m:r>
                                    </m:e>
                                    <m:sub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𝑠𝑎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p>
                                        <m:sSupPr>
                                          <m:ctrlPr>
                                            <a:rPr lang="en-US" altLang="zh-CN" sz="2000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sz="2000" b="0" i="1" smtClean="0">
                                              <a:latin typeface="Cambria Math" panose="02040503050406030204" pitchFamily="18" charset="0"/>
                                            </a:rPr>
                                            <m:t>𝑠</m:t>
                                          </m:r>
                                        </m:e>
                                        <m:sup>
                                          <m:r>
                                            <a:rPr lang="en-US" altLang="zh-CN" sz="2000" b="0" i="1" smtClean="0">
                                              <a:latin typeface="Cambria Math" panose="02040503050406030204" pitchFamily="18" charset="0"/>
                                            </a:rPr>
                                            <m:t>′</m:t>
                                          </m:r>
                                        </m:sup>
                                      </m:sSup>
                                    </m:e>
                                  </m:d>
                                  <m:sSup>
                                    <m:sSup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∗</m:t>
                                      </m:r>
                                    </m:sup>
                                  </m:sSup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sSup>
                                    <m:sSup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</m:nary>
                            </m:e>
                          </m:func>
                        </m:e>
                      </m:func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B8A5D99-5182-4091-BAC2-CA336E3FEA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77" y="4336522"/>
                <a:ext cx="6680447" cy="84959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5ED6EC11-9CA0-4559-A693-3FB493E6848B}"/>
                  </a:ext>
                </a:extLst>
              </p:cNvPr>
              <p:cNvSpPr txBox="1"/>
              <p:nvPr/>
            </p:nvSpPr>
            <p:spPr>
              <a:xfrm>
                <a:off x="1231177" y="3209561"/>
                <a:ext cx="6680447" cy="8500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zh-CN" altLang="en-US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𝑅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unc>
                        <m:func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sz="20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</m:t>
                              </m:r>
                            </m:lim>
                          </m:limLow>
                        </m:fName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𝑎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  <m:sSup>
                                <m:sSup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∗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</m:e>
                          </m:nary>
                        </m:e>
                      </m:func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5ED6EC11-9CA0-4559-A693-3FB493E684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77" y="3209561"/>
                <a:ext cx="6680447" cy="85004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84B9358B-C7D8-49AE-9551-4876D05195E2}"/>
                  </a:ext>
                </a:extLst>
              </p:cNvPr>
              <p:cNvSpPr txBox="1"/>
              <p:nvPr/>
            </p:nvSpPr>
            <p:spPr>
              <a:xfrm>
                <a:off x="1231177" y="5734463"/>
                <a:ext cx="6680447" cy="4217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sSup>
                            <m:sSup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p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p>
                        </m:sup>
                      </m:sSup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altLang="zh-CN" sz="2000" b="0" i="0" smtClean="0">
                              <a:latin typeface="Cambria Math" panose="02040503050406030204" pitchFamily="18" charset="0"/>
                            </a:rPr>
                            <m:t>s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≥</m:t>
                      </m:r>
                      <m:sSup>
                        <m:s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84B9358B-C7D8-49AE-9551-4876D05195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77" y="5734463"/>
                <a:ext cx="6680447" cy="421782"/>
              </a:xfrm>
              <a:prstGeom prst="rect">
                <a:avLst/>
              </a:prstGeom>
              <a:blipFill>
                <a:blip r:embed="rId8"/>
                <a:stretch>
                  <a:fillRect b="-1594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97092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475200"/>
            <a:ext cx="8137922" cy="553500"/>
          </a:xfrm>
        </p:spPr>
        <p:txBody>
          <a:bodyPr/>
          <a:lstStyle/>
          <a:p>
            <a:r>
              <a:rPr lang="zh-CN" altLang="en-US" dirty="0"/>
              <a:t>课程大纲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7ABE3"/>
              </a:solidFill>
              <a:effectLst/>
              <a:uLnTx/>
              <a:uFillTx/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4296DFD-E508-42FA-958A-3E7E11E25FD0}"/>
              </a:ext>
            </a:extLst>
          </p:cNvPr>
          <p:cNvSpPr/>
          <p:nvPr/>
        </p:nvSpPr>
        <p:spPr>
          <a:xfrm>
            <a:off x="4574342" y="1375401"/>
            <a:ext cx="4107305" cy="44716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1524147-056F-43D7-83E9-6329A912AA9F}"/>
              </a:ext>
            </a:extLst>
          </p:cNvPr>
          <p:cNvSpPr/>
          <p:nvPr/>
        </p:nvSpPr>
        <p:spPr>
          <a:xfrm>
            <a:off x="389744" y="1375401"/>
            <a:ext cx="4107305" cy="44716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3" name="内容占位符 3">
            <a:extLst>
              <a:ext uri="{FF2B5EF4-FFF2-40B4-BE49-F238E27FC236}">
                <a16:creationId xmlns:a16="http://schemas.microsoft.com/office/drawing/2014/main" id="{35F314D7-0FDD-4D89-AF44-585DD2B76D8D}"/>
              </a:ext>
            </a:extLst>
          </p:cNvPr>
          <p:cNvSpPr txBox="1">
            <a:spLocks/>
          </p:cNvSpPr>
          <p:nvPr/>
        </p:nvSpPr>
        <p:spPr>
          <a:xfrm>
            <a:off x="550129" y="2161303"/>
            <a:ext cx="3886200" cy="383329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强化学习、探索与利用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400" dirty="0">
                <a:solidFill>
                  <a:srgbClr val="FF0000"/>
                </a:solidFill>
                <a:ea typeface="阿里巴巴普惠体 R" panose="00020600040101010101"/>
              </a:rPr>
              <a:t>MDP</a:t>
            </a:r>
            <a:r>
              <a:rPr lang="zh-CN" altLang="en-US" sz="2400" dirty="0">
                <a:solidFill>
                  <a:srgbClr val="FF0000"/>
                </a:solidFill>
                <a:ea typeface="阿里巴巴普惠体 R" panose="00020600040101010101"/>
              </a:rPr>
              <a:t>和动态规划</a:t>
            </a:r>
            <a:endParaRPr lang="en-US" sz="2400" dirty="0">
              <a:solidFill>
                <a:srgbClr val="FF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值函数估计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无模型控制方法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规划与学习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参数化的值函数和策略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深度强化学习价值方法</a:t>
            </a:r>
            <a:endParaRPr lang="en-US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深度强化学习策略方法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</p:txBody>
      </p:sp>
      <p:sp>
        <p:nvSpPr>
          <p:cNvPr id="14" name="内容占位符 4">
            <a:extLst>
              <a:ext uri="{FF2B5EF4-FFF2-40B4-BE49-F238E27FC236}">
                <a16:creationId xmlns:a16="http://schemas.microsoft.com/office/drawing/2014/main" id="{6D3298F2-5082-4464-B494-69D8F2C400B7}"/>
              </a:ext>
            </a:extLst>
          </p:cNvPr>
          <p:cNvSpPr txBox="1">
            <a:spLocks/>
          </p:cNvSpPr>
          <p:nvPr/>
        </p:nvSpPr>
        <p:spPr>
          <a:xfrm>
            <a:off x="4629150" y="2161303"/>
            <a:ext cx="4190510" cy="389325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dirty="0">
                <a:solidFill>
                  <a:srgbClr val="000000"/>
                </a:solidFill>
                <a:ea typeface="阿里巴巴普惠体 R" panose="00020600040101010101"/>
              </a:rPr>
              <a:t>  9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基于模型的深度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0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模仿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indent="0">
              <a:buNone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1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离线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2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参数化动作空间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3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目标导向的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4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多智能体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5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强化学习大模型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6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技术交流与回顾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7922843E-8B2C-474B-B4E6-1BF440AA651B}"/>
              </a:ext>
            </a:extLst>
          </p:cNvPr>
          <p:cNvSpPr/>
          <p:nvPr/>
        </p:nvSpPr>
        <p:spPr>
          <a:xfrm>
            <a:off x="902675" y="1397001"/>
            <a:ext cx="308144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基础部分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90C5F941-010B-4E6A-B42B-E0A68B592CA6}"/>
              </a:ext>
            </a:extLst>
          </p:cNvPr>
          <p:cNvSpPr/>
          <p:nvPr/>
        </p:nvSpPr>
        <p:spPr>
          <a:xfrm>
            <a:off x="5400966" y="1397001"/>
            <a:ext cx="2646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前沿部分</a:t>
            </a:r>
          </a:p>
        </p:txBody>
      </p:sp>
    </p:spTree>
    <p:extLst>
      <p:ext uri="{BB962C8B-B14F-4D97-AF65-F5344CB8AC3E}">
        <p14:creationId xmlns:p14="http://schemas.microsoft.com/office/powerpoint/2010/main" val="3699609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价值迭代和策略迭代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19302E9C-4641-499E-908B-5995ED47B116}"/>
              </a:ext>
            </a:extLst>
          </p:cNvPr>
          <p:cNvSpPr txBox="1">
            <a:spLocks/>
          </p:cNvSpPr>
          <p:nvPr/>
        </p:nvSpPr>
        <p:spPr>
          <a:xfrm>
            <a:off x="502443" y="1444521"/>
            <a:ext cx="8137922" cy="4234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价值函数和策略相关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可以对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最优价值函数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和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最优策略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执行迭代更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价值迭代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策略迭代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BC87BF16-D34D-40FC-860F-36FAF79958FF}"/>
                  </a:ext>
                </a:extLst>
              </p:cNvPr>
              <p:cNvSpPr txBox="1"/>
              <p:nvPr/>
            </p:nvSpPr>
            <p:spPr>
              <a:xfrm>
                <a:off x="1231180" y="2000672"/>
                <a:ext cx="6680447" cy="8500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𝑅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unc>
                        <m:func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𝜋</m:t>
                                  </m:r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)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  <m:sSup>
                                <m:sSup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</m:e>
                          </m:nary>
                        </m:fName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</m:e>
                      </m:func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BC87BF16-D34D-40FC-860F-36FAF79958F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80" y="2000672"/>
                <a:ext cx="6680447" cy="85004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F7349994-F844-4A68-A0FF-C868BC52542F}"/>
                  </a:ext>
                </a:extLst>
              </p:cNvPr>
              <p:cNvSpPr txBox="1"/>
              <p:nvPr/>
            </p:nvSpPr>
            <p:spPr>
              <a:xfrm>
                <a:off x="1231180" y="2947860"/>
                <a:ext cx="6680447" cy="8495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𝜋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sz="2000" b="0" i="0" smtClean="0">
                              <a:latin typeface="Cambria Math" panose="02040503050406030204" pitchFamily="18" charset="0"/>
                            </a:rPr>
                            <m:t>arg</m:t>
                          </m:r>
                        </m:fName>
                        <m:e>
                          <m:func>
                            <m:func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limLow>
                                <m:limLow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limLow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sz="2000" b="0" i="0" smtClean="0">
                                      <a:latin typeface="Cambria Math" panose="02040503050406030204" pitchFamily="18" charset="0"/>
                                    </a:rPr>
                                    <m:t>max</m:t>
                                  </m:r>
                                </m:e>
                                <m:lim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∈</m:t>
                                  </m:r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</m:lim>
                              </m:limLow>
                            </m:fName>
                            <m:e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sSup>
                                    <m:sSup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∈</m:t>
                                  </m:r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</m:sub>
                                <m:sup/>
                                <m:e>
                                  <m:sSub>
                                    <m:sSub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𝑃</m:t>
                                      </m:r>
                                    </m:e>
                                    <m:sub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𝑠𝑎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p>
                                        <m:sSupPr>
                                          <m:ctrlPr>
                                            <a:rPr lang="en-US" altLang="zh-CN" sz="2000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sz="2000" b="0" i="1" smtClean="0">
                                              <a:latin typeface="Cambria Math" panose="02040503050406030204" pitchFamily="18" charset="0"/>
                                            </a:rPr>
                                            <m:t>𝑠</m:t>
                                          </m:r>
                                        </m:e>
                                        <m:sup>
                                          <m:r>
                                            <a:rPr lang="en-US" altLang="zh-CN" sz="2000" b="0" i="1" smtClean="0">
                                              <a:latin typeface="Cambria Math" panose="02040503050406030204" pitchFamily="18" charset="0"/>
                                            </a:rPr>
                                            <m:t>′</m:t>
                                          </m:r>
                                        </m:sup>
                                      </m:sSup>
                                    </m:e>
                                  </m:d>
                                  <m:sSup>
                                    <m:sSup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sSup>
                                    <m:sSup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</m:nary>
                            </m:e>
                          </m:func>
                        </m:e>
                      </m:func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F7349994-F844-4A68-A0FF-C868BC5254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80" y="2947860"/>
                <a:ext cx="6680447" cy="84959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19848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价值迭代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311675"/>
                <a:ext cx="8137922" cy="528655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一个动作空间和状态空间有限的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DP</a:t>
                </a: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价值迭代过程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914400" lvl="1" indent="-4572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每个状态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zh-CN" altLang="en-US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初始化</a:t>
                </a:r>
                <a14:m>
                  <m:oMath xmlns:m="http://schemas.openxmlformats.org/officeDocument/2006/math">
                    <m:r>
                      <a:rPr lang="en-US" altLang="zh-CN" b="0" i="0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d>
                      <m:d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</m:d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0</m:t>
                    </m:r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914400" lvl="1" indent="-4572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重复以下过程直到收敛 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{</a:t>
                </a:r>
              </a:p>
              <a:p>
                <a:pPr marL="914400" lvl="2" indent="0">
                  <a:lnSpc>
                    <a:spcPct val="150000"/>
                  </a:lnSpc>
                  <a:buNone/>
                </a:pPr>
                <a:r>
                  <a:rPr lang="en-US" altLang="zh-CN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    </a:t>
                </a: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每个状态，更新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    }</a:t>
                </a:r>
              </a:p>
              <a:p>
                <a:pPr marL="0" indent="0">
                  <a:lnSpc>
                    <a:spcPct val="150000"/>
                  </a:lnSpc>
                  <a:buNone/>
                </a:pPr>
                <a:r>
                  <a:rPr lang="en-US" altLang="zh-CN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  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注意：在以上的计算中没有明确的策略</a:t>
                </a:r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311675"/>
                <a:ext cx="8137922" cy="5286552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E3A5D8FE-A925-483D-B8BC-A1739DC3A352}"/>
                  </a:ext>
                </a:extLst>
              </p:cNvPr>
              <p:cNvSpPr txBox="1"/>
              <p:nvPr/>
            </p:nvSpPr>
            <p:spPr>
              <a:xfrm>
                <a:off x="1231180" y="2011430"/>
                <a:ext cx="668044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|"/>
                          <m:endChr m:val="|"/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</m:d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</m:t>
                      </m:r>
                      <m:r>
                        <a:rPr lang="en-US" altLang="zh-CN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 |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𝐴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|&lt;∞</m:t>
                      </m:r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E3A5D8FE-A925-483D-B8BC-A1739DC3A3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80" y="2011430"/>
                <a:ext cx="6680447" cy="400110"/>
              </a:xfrm>
              <a:prstGeom prst="rect">
                <a:avLst/>
              </a:prstGeom>
              <a:blipFill>
                <a:blip r:embed="rId5"/>
                <a:stretch>
                  <a:fillRect b="-16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B8A5D99-5182-4091-BAC2-CA336E3FEA2F}"/>
                  </a:ext>
                </a:extLst>
              </p:cNvPr>
              <p:cNvSpPr txBox="1"/>
              <p:nvPr/>
            </p:nvSpPr>
            <p:spPr>
              <a:xfrm>
                <a:off x="1231180" y="4352943"/>
                <a:ext cx="6680447" cy="8500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𝑅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unc>
                        <m:func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sz="20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</m:t>
                              </m:r>
                            </m:lim>
                          </m:limLow>
                        </m:fName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𝑎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𝑉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e>
                      </m:func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B8A5D99-5182-4091-BAC2-CA336E3FEA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80" y="4352943"/>
                <a:ext cx="6680447" cy="85004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文本框 9">
            <a:extLst>
              <a:ext uri="{FF2B5EF4-FFF2-40B4-BE49-F238E27FC236}">
                <a16:creationId xmlns:a16="http://schemas.microsoft.com/office/drawing/2014/main" id="{5D8E5548-16D9-4A80-8BBA-FDAD941B6264}"/>
              </a:ext>
            </a:extLst>
          </p:cNvPr>
          <p:cNvSpPr txBox="1"/>
          <p:nvPr/>
        </p:nvSpPr>
        <p:spPr>
          <a:xfrm>
            <a:off x="214706" y="6471269"/>
            <a:ext cx="8346199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050" dirty="0"/>
              <a:t>价值迭代收敛性证明：</a:t>
            </a:r>
            <a:r>
              <a:rPr lang="en-US" altLang="zh-CN" sz="1050" dirty="0"/>
              <a:t>https://towardsdatascience.com/mathematical-analysis-of-reinforcement-learning-bellman-equation-ac9f0954e19f</a:t>
            </a:r>
            <a:endParaRPr lang="zh-CN" altLang="en-US" sz="1050" dirty="0"/>
          </a:p>
        </p:txBody>
      </p:sp>
    </p:spTree>
    <p:extLst>
      <p:ext uri="{BB962C8B-B14F-4D97-AF65-F5344CB8AC3E}">
        <p14:creationId xmlns:p14="http://schemas.microsoft.com/office/powerpoint/2010/main" val="3759967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同步 </a:t>
            </a:r>
            <a:r>
              <a:rPr lang="en-US" altLang="zh-CN" dirty="0"/>
              <a:t>vs. </a:t>
            </a:r>
            <a:r>
              <a:rPr lang="zh-CN" altLang="en-US" dirty="0"/>
              <a:t>异步价值迭代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1443329"/>
                <a:ext cx="8137922" cy="423464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同步的价值迭代会储存两份价值函数的拷贝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914400" lvl="1" indent="-4572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</a:t>
                </a:r>
                <a14:m>
                  <m:oMath xmlns:m="http://schemas.openxmlformats.org/officeDocument/2006/math">
                    <m:r>
                      <a:rPr lang="en-US" altLang="zh-CN" sz="20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zh-CN" altLang="en-US" sz="20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中</m:t>
                    </m:r>
                  </m:oMath>
                </a14:m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所有状态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sz="2000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s</m:t>
                    </m:r>
                  </m:oMath>
                </a14:m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914400" lvl="1" indent="-457200">
                  <a:buFont typeface="+mj-lt"/>
                  <a:buAutoNum type="arabicPeriod"/>
                </a:pP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914400" lvl="1" indent="-457200">
                  <a:buFont typeface="+mj-lt"/>
                  <a:buAutoNum type="arabicPeriod"/>
                </a:pP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914400" lvl="1" indent="-457200">
                  <a:buFont typeface="+mj-lt"/>
                  <a:buAutoNum type="arabicPeriod"/>
                </a:pP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914400" lvl="1" indent="-457200">
                  <a:buFont typeface="+mj-lt"/>
                  <a:buAutoNum type="arabicPeriod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新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00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2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</m:e>
                      <m:sub>
                        <m:r>
                          <a:rPr lang="en-US" altLang="zh-CN" sz="2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𝑜𝑙𝑑</m:t>
                        </m:r>
                      </m:sub>
                    </m:sSub>
                    <m:r>
                      <a:rPr lang="en-US" altLang="zh-CN" sz="2000" i="1" dirty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2000" i="1" dirty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sz="2000" i="1" dirty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←</m:t>
                    </m:r>
                    <m:sSub>
                      <m:sSubPr>
                        <m:ctrlPr>
                          <a:rPr lang="en-US" altLang="zh-CN" sz="2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sz="2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  <m:t>𝑉</m:t>
                        </m:r>
                      </m:e>
                      <m:sub>
                        <m:r>
                          <a:rPr lang="en-US" altLang="zh-CN" sz="2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  <m:t>𝑛𝑒𝑤</m:t>
                        </m:r>
                      </m:sub>
                    </m:sSub>
                    <m:r>
                      <a:rPr lang="en-US" altLang="zh-CN" sz="2000" i="1" dirty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2000" i="1" dirty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sz="2000" i="1" dirty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sz="2000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异步价值迭代只储存一份价值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914400" lvl="1" indent="-4572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</a:t>
                </a:r>
                <a14:m>
                  <m:oMath xmlns:m="http://schemas.openxmlformats.org/officeDocument/2006/math">
                    <m:r>
                      <a:rPr lang="en-US" altLang="zh-CN" sz="20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lang="zh-CN" altLang="en-US" sz="20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中</m:t>
                    </m:r>
                  </m:oMath>
                </a14:m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所有状态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sz="2000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s</m:t>
                    </m:r>
                  </m:oMath>
                </a14:m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443329"/>
                <a:ext cx="8137922" cy="4234649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E3A5D8FE-A925-483D-B8BC-A1739DC3A352}"/>
                  </a:ext>
                </a:extLst>
              </p:cNvPr>
              <p:cNvSpPr txBox="1"/>
              <p:nvPr/>
            </p:nvSpPr>
            <p:spPr>
              <a:xfrm>
                <a:off x="1231180" y="2359520"/>
                <a:ext cx="6680447" cy="9214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0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altLang="zh-CN" sz="20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𝑒𝑤</m:t>
                          </m:r>
                        </m:sub>
                      </m:sSub>
                      <m:d>
                        <m:dPr>
                          <m:ctrlPr>
                            <a:rPr lang="en-US" altLang="zh-CN" sz="20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←</m:t>
                      </m:r>
                      <m:func>
                        <m:func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sz="20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</m:t>
                              </m:r>
                            </m:lim>
                          </m:limLow>
                        </m:fName>
                        <m:e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𝑅</m:t>
                              </m:r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</m:d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𝛾</m:t>
                              </m:r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sSup>
                                    <m:sSup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∈</m:t>
                                  </m:r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𝑆</m:t>
                                  </m:r>
                                </m:sub>
                                <m:sup/>
                                <m:e>
                                  <m:sSub>
                                    <m:sSub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𝑃</m:t>
                                      </m:r>
                                    </m:e>
                                    <m:sub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𝑎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p>
                                        <m:sSupPr>
                                          <m:ctrlP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𝑠</m:t>
                                          </m:r>
                                        </m:e>
                                        <m:sup>
                                          <m: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′</m:t>
                                          </m:r>
                                        </m:sup>
                                      </m:sSup>
                                    </m:e>
                                  </m:d>
                                  <m:sSub>
                                    <m:sSubPr>
                                      <m:ctrlPr>
                                        <a:rPr lang="en-US" altLang="zh-CN" sz="2000" i="1">
                                          <a:solidFill>
                                            <a:schemeClr val="accent1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i="1">
                                          <a:solidFill>
                                            <a:schemeClr val="accent1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b>
                                      <m:r>
                                        <a:rPr lang="en-US" altLang="zh-CN" sz="2000" i="1">
                                          <a:solidFill>
                                            <a:schemeClr val="accent1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𝑜𝑙𝑑</m:t>
                                      </m:r>
                                    </m:sub>
                                  </m:sSub>
                                  <m:r>
                                    <a:rPr lang="en-US" altLang="zh-CN" sz="2000" i="1">
                                      <a:solidFill>
                                        <a:schemeClr val="accent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</m:t>
                                  </m:r>
                                  <m:sSup>
                                    <m:sSupPr>
                                      <m:ctrlPr>
                                        <a:rPr lang="en-US" altLang="zh-CN" sz="2000" i="1">
                                          <a:solidFill>
                                            <a:schemeClr val="accent1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2000" i="1">
                                          <a:solidFill>
                                            <a:schemeClr val="accent1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sz="2000" i="1">
                                          <a:solidFill>
                                            <a:schemeClr val="accent1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sz="2000" i="1">
                                      <a:solidFill>
                                        <a:schemeClr val="accent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</m:nary>
                            </m:e>
                          </m:d>
                        </m:e>
                      </m:func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E3A5D8FE-A925-483D-B8BC-A1739DC3A3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80" y="2359520"/>
                <a:ext cx="6680447" cy="921471"/>
              </a:xfrm>
              <a:prstGeom prst="rect">
                <a:avLst/>
              </a:prstGeom>
              <a:blipFill>
                <a:blip r:embed="rId5"/>
                <a:stretch>
                  <a:fillRect b="-1125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292BD0B3-89C1-47B8-8CAF-EE3E1D40E620}"/>
                  </a:ext>
                </a:extLst>
              </p:cNvPr>
              <p:cNvSpPr txBox="1"/>
              <p:nvPr/>
            </p:nvSpPr>
            <p:spPr>
              <a:xfrm>
                <a:off x="1231179" y="5390423"/>
                <a:ext cx="6680447" cy="10831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altLang="zh-CN" sz="20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sz="2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←</m:t>
                      </m:r>
                      <m:func>
                        <m:func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sz="20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</m:t>
                              </m:r>
                            </m:lim>
                          </m:limLow>
                        </m:fName>
                        <m:e>
                          <m:d>
                            <m:d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𝑅</m:t>
                              </m:r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</m:d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𝛾</m:t>
                              </m:r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sSup>
                                    <m:sSup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∈</m:t>
                                  </m:r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𝑆</m:t>
                                  </m:r>
                                </m:sub>
                                <m:sup/>
                                <m:e>
                                  <m:sSub>
                                    <m:sSub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𝑃</m:t>
                                      </m:r>
                                    </m:e>
                                    <m:sub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𝑎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p>
                                        <m:sSupPr>
                                          <m:ctrlP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𝑠</m:t>
                                          </m:r>
                                        </m:e>
                                        <m:sup>
                                          <m: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′</m:t>
                                          </m:r>
                                        </m:sup>
                                      </m:sSup>
                                    </m:e>
                                  </m:d>
                                  <m:r>
                                    <a:rPr lang="en-US" altLang="zh-CN" sz="2000" i="1">
                                      <a:solidFill>
                                        <a:schemeClr val="accent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𝑉</m:t>
                                  </m:r>
                                  <m:r>
                                    <a:rPr lang="en-US" altLang="zh-CN" sz="2000" i="1">
                                      <a:solidFill>
                                        <a:schemeClr val="accent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</m:t>
                                  </m:r>
                                  <m:sSup>
                                    <m:sSupPr>
                                      <m:ctrlPr>
                                        <a:rPr lang="en-US" altLang="zh-CN" sz="2000" i="1">
                                          <a:solidFill>
                                            <a:schemeClr val="accent1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2000" i="1">
                                          <a:solidFill>
                                            <a:schemeClr val="accent1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sz="2000" i="1">
                                          <a:solidFill>
                                            <a:schemeClr val="accent1"/>
                                          </a:solidFill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sz="2000" i="1">
                                      <a:solidFill>
                                        <a:schemeClr val="accent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)</m:t>
                                  </m:r>
                                </m:e>
                              </m:nary>
                            </m:e>
                          </m:d>
                        </m:e>
                      </m:func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292BD0B3-89C1-47B8-8CAF-EE3E1D40E6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79" y="5390423"/>
                <a:ext cx="6680447" cy="108318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2020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价值迭代例子：最短路径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18CA2B79-2B77-4284-89C4-49E0553DE3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0859" y="1526917"/>
            <a:ext cx="7422281" cy="4401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458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策略迭代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1268783"/>
                <a:ext cx="8137922" cy="537100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6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一个动作空间和状态空间有限的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DP</a:t>
                </a:r>
              </a:p>
              <a:p>
                <a:pPr>
                  <a:lnSpc>
                    <a:spcPct val="16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迭代过程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914400" lvl="1" indent="-4572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随机初始化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914400" lvl="1" indent="-4572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重复以下过程直到收敛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{</a:t>
                </a:r>
              </a:p>
              <a:p>
                <a:pPr marL="1371600" lvl="2" indent="-457200">
                  <a:lnSpc>
                    <a:spcPct val="150000"/>
                  </a:lnSpc>
                  <a:buFont typeface="+mj-lt"/>
                  <a:buAutoNum type="alphaLcParenR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让 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r>
                      <a:rPr lang="en-US" altLang="zh-CN" b="0" i="0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≔</m:t>
                    </m:r>
                    <m:sSup>
                      <m:sSup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</m:e>
                      <m:sup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sup>
                    </m:sSup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371600" lvl="2" indent="-457200">
                  <a:lnSpc>
                    <a:spcPct val="150000"/>
                  </a:lnSpc>
                  <a:buFont typeface="+mj-lt"/>
                  <a:buAutoNum type="alphaLcParenR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每个状态，更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    }</a:t>
                </a:r>
              </a:p>
              <a:p>
                <a:pPr marL="0" indent="0">
                  <a:lnSpc>
                    <a:spcPct val="160000"/>
                  </a:lnSpc>
                  <a:buNone/>
                </a:pP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新价值函数会很耗时</a:t>
                </a:r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268783"/>
                <a:ext cx="8137922" cy="5371008"/>
              </a:xfrm>
              <a:prstGeom prst="rect">
                <a:avLst/>
              </a:prstGeom>
              <a:blipFill>
                <a:blip r:embed="rId4"/>
                <a:stretch>
                  <a:fillRect l="-7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E3A5D8FE-A925-483D-B8BC-A1739DC3A352}"/>
                  </a:ext>
                </a:extLst>
              </p:cNvPr>
              <p:cNvSpPr txBox="1"/>
              <p:nvPr/>
            </p:nvSpPr>
            <p:spPr>
              <a:xfrm>
                <a:off x="1231180" y="1907521"/>
                <a:ext cx="668044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|"/>
                          <m:endChr m:val="|"/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</m:d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</m:t>
                      </m:r>
                      <m:r>
                        <a:rPr lang="en-US" altLang="zh-CN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 |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𝐴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|&lt;∞</m:t>
                      </m:r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E3A5D8FE-A925-483D-B8BC-A1739DC3A3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80" y="1907521"/>
                <a:ext cx="6680447" cy="400110"/>
              </a:xfrm>
              <a:prstGeom prst="rect">
                <a:avLst/>
              </a:prstGeom>
              <a:blipFill>
                <a:blip r:embed="rId5"/>
                <a:stretch>
                  <a:fillRect b="-16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B8A5D99-5182-4091-BAC2-CA336E3FEA2F}"/>
                  </a:ext>
                </a:extLst>
              </p:cNvPr>
              <p:cNvSpPr txBox="1"/>
              <p:nvPr/>
            </p:nvSpPr>
            <p:spPr>
              <a:xfrm>
                <a:off x="1231179" y="4739176"/>
                <a:ext cx="6680447" cy="8500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𝜋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𝑟𝑔</m:t>
                      </m:r>
                      <m:func>
                        <m:func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sz="20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</m:t>
                              </m:r>
                            </m:lim>
                          </m:limLow>
                        </m:fName>
                        <m:e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𝑎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𝑉</m:t>
                              </m:r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e>
                      </m:func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B8A5D99-5182-4091-BAC2-CA336E3FEA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79" y="4739176"/>
                <a:ext cx="6680447" cy="85004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3002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策略迭代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69241" y="3664610"/>
                <a:ext cx="3781458" cy="234024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评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估计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 dirty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n-US" altLang="zh-CN" i="1" dirty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V</m:t>
                        </m:r>
                      </m:e>
                      <m:sup>
                        <m:r>
                          <a:rPr lang="en-US" altLang="zh-CN" i="1" dirty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sup>
                    </m:sSup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迭代的评估策略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改进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生成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≥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贪心策略改进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9241" y="3664610"/>
                <a:ext cx="3781458" cy="2340244"/>
              </a:xfrm>
              <a:prstGeom prst="rect">
                <a:avLst/>
              </a:prstGeom>
              <a:blipFill>
                <a:blip r:embed="rId4"/>
                <a:stretch>
                  <a:fillRect l="-968" t="-130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图片 7">
            <a:extLst>
              <a:ext uri="{FF2B5EF4-FFF2-40B4-BE49-F238E27FC236}">
                <a16:creationId xmlns:a16="http://schemas.microsoft.com/office/drawing/2014/main" id="{9FDC0237-ABAA-415B-9853-D8E0BB8529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9241" y="1219135"/>
            <a:ext cx="3781458" cy="220986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3D6E9C06-FC75-4F90-BFCA-9168DF5ADC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53323" y="1524568"/>
            <a:ext cx="3058418" cy="4220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249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举例：策略评估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2818356"/>
                <a:ext cx="8137922" cy="302315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非折扣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DP</a:t>
                </a:r>
                <a14:m>
                  <m:oMath xmlns:m="http://schemas.openxmlformats.org/officeDocument/2006/math">
                    <m:r>
                      <a:rPr lang="en-US" altLang="zh-CN" b="0" i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 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𝛾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=1</m:t>
                        </m:r>
                      </m:e>
                    </m:d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非终止状态：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1, 2, …,14</a:t>
                </a: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两个终止状态（灰色方格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果动作指向所有方格以外，则这一步不动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奖励均为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1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直到到达终止状态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智能体的策略为均匀随机策略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2818356"/>
                <a:ext cx="8137922" cy="3023151"/>
              </a:xfrm>
              <a:prstGeom prst="rect">
                <a:avLst/>
              </a:prstGeom>
              <a:blipFill>
                <a:blip r:embed="rId4"/>
                <a:stretch>
                  <a:fillRect l="-449" t="-100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B8A5D99-5182-4091-BAC2-CA336E3FEA2F}"/>
                  </a:ext>
                </a:extLst>
              </p:cNvPr>
              <p:cNvSpPr txBox="1"/>
              <p:nvPr/>
            </p:nvSpPr>
            <p:spPr>
              <a:xfrm>
                <a:off x="1410475" y="5440821"/>
                <a:ext cx="668044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𝜋</m:t>
                      </m:r>
                      <m:d>
                        <m:d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|⋅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𝜋</m:t>
                      </m:r>
                      <m:d>
                        <m:d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|⋅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𝜋</m:t>
                      </m:r>
                      <m:d>
                        <m:d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|⋅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𝜋</m:t>
                      </m:r>
                      <m:d>
                        <m:dPr>
                          <m:ctrlP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𝑤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|⋅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0.25</m:t>
                      </m:r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B8A5D99-5182-4091-BAC2-CA336E3FEA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10475" y="5440821"/>
                <a:ext cx="6680447" cy="400110"/>
              </a:xfrm>
              <a:prstGeom prst="rect">
                <a:avLst/>
              </a:prstGeom>
              <a:blipFill>
                <a:blip r:embed="rId5"/>
                <a:stretch>
                  <a:fillRect b="-1846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图片 7">
            <a:extLst>
              <a:ext uri="{FF2B5EF4-FFF2-40B4-BE49-F238E27FC236}">
                <a16:creationId xmlns:a16="http://schemas.microsoft.com/office/drawing/2014/main" id="{20AD68F4-25ED-4C32-9CAC-9B59407DF7A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4865"/>
          <a:stretch/>
        </p:blipFill>
        <p:spPr>
          <a:xfrm>
            <a:off x="4432076" y="1244056"/>
            <a:ext cx="1488724" cy="1387354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C311A133-ED21-4BF5-91FD-B6DFEF298AD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3532" r="61019" b="23085"/>
          <a:stretch/>
        </p:blipFill>
        <p:spPr>
          <a:xfrm>
            <a:off x="3220681" y="1273479"/>
            <a:ext cx="1052545" cy="879347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689C049E-794A-4DF0-A161-6B99B241C37D}"/>
              </a:ext>
            </a:extLst>
          </p:cNvPr>
          <p:cNvSpPr txBox="1"/>
          <p:nvPr/>
        </p:nvSpPr>
        <p:spPr>
          <a:xfrm>
            <a:off x="3394230" y="2158196"/>
            <a:ext cx="7054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动作</a:t>
            </a:r>
          </a:p>
        </p:txBody>
      </p:sp>
    </p:spTree>
    <p:extLst>
      <p:ext uri="{BB962C8B-B14F-4D97-AF65-F5344CB8AC3E}">
        <p14:creationId xmlns:p14="http://schemas.microsoft.com/office/powerpoint/2010/main" val="2989245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举例：策略评估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19302E9C-4641-499E-908B-5995ED47B116}"/>
              </a:ext>
            </a:extLst>
          </p:cNvPr>
          <p:cNvSpPr txBox="1">
            <a:spLocks/>
          </p:cNvSpPr>
          <p:nvPr/>
        </p:nvSpPr>
        <p:spPr>
          <a:xfrm>
            <a:off x="1279056" y="1783082"/>
            <a:ext cx="1271288" cy="45605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K=0</a:t>
            </a: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K=1</a:t>
            </a: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K=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B8A5D99-5182-4091-BAC2-CA336E3FEA2F}"/>
                  </a:ext>
                </a:extLst>
              </p:cNvPr>
              <p:cNvSpPr txBox="1"/>
              <p:nvPr/>
            </p:nvSpPr>
            <p:spPr>
              <a:xfrm>
                <a:off x="2550344" y="1399746"/>
                <a:ext cx="180344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随机策略的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endParaRPr lang="zh-CN" altLang="zh-CN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B8A5D99-5182-4091-BAC2-CA336E3FEA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50344" y="1399746"/>
                <a:ext cx="1803447" cy="369332"/>
              </a:xfrm>
              <a:prstGeom prst="rect">
                <a:avLst/>
              </a:prstGeom>
              <a:blipFill>
                <a:blip r:embed="rId4"/>
                <a:stretch>
                  <a:fillRect t="-8333" b="-28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7D60DE98-78FF-40B1-9CCA-E8EE22F5BF22}"/>
                  </a:ext>
                </a:extLst>
              </p:cNvPr>
              <p:cNvSpPr txBox="1"/>
              <p:nvPr/>
            </p:nvSpPr>
            <p:spPr>
              <a:xfrm>
                <a:off x="4790211" y="1399746"/>
                <a:ext cx="204932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应的贪心策略</a:t>
                </a:r>
                <a:endParaRPr lang="zh-CN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7D60DE98-78FF-40B1-9CCA-E8EE22F5BF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90211" y="1399746"/>
                <a:ext cx="2049327" cy="369332"/>
              </a:xfrm>
              <a:prstGeom prst="rect">
                <a:avLst/>
              </a:prstGeom>
              <a:blipFill>
                <a:blip r:embed="rId5"/>
                <a:stretch>
                  <a:fillRect t="-8333" r="-893" b="-28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3" name="图片 12">
            <a:extLst>
              <a:ext uri="{FF2B5EF4-FFF2-40B4-BE49-F238E27FC236}">
                <a16:creationId xmlns:a16="http://schemas.microsoft.com/office/drawing/2014/main" id="{79B8B6EF-0688-4C83-94B5-77ABB7C994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12974" y="1870764"/>
            <a:ext cx="4103055" cy="4743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48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举例：策略评估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19302E9C-4641-499E-908B-5995ED47B116}"/>
              </a:ext>
            </a:extLst>
          </p:cNvPr>
          <p:cNvSpPr txBox="1">
            <a:spLocks/>
          </p:cNvSpPr>
          <p:nvPr/>
        </p:nvSpPr>
        <p:spPr>
          <a:xfrm>
            <a:off x="1279056" y="1783082"/>
            <a:ext cx="1271288" cy="45605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K=3</a:t>
            </a: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K=10</a:t>
            </a: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K=∞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9F04A4C1-483F-4D30-BB5E-D2066E2176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3706" y="1868155"/>
            <a:ext cx="4052951" cy="4693601"/>
          </a:xfrm>
          <a:prstGeom prst="rect">
            <a:avLst/>
          </a:prstGeom>
        </p:spPr>
      </p:pic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4A88848C-B083-49A7-9709-C854BA06F398}"/>
              </a:ext>
            </a:extLst>
          </p:cNvPr>
          <p:cNvCxnSpPr>
            <a:cxnSpLocks/>
            <a:stCxn id="47" idx="1"/>
            <a:endCxn id="9" idx="3"/>
          </p:cNvCxnSpPr>
          <p:nvPr/>
        </p:nvCxnSpPr>
        <p:spPr>
          <a:xfrm flipH="1">
            <a:off x="6676657" y="4214955"/>
            <a:ext cx="872500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E06E809C-2110-4D0C-A835-8770C36C5B01}"/>
              </a:ext>
            </a:extLst>
          </p:cNvPr>
          <p:cNvCxnSpPr>
            <a:cxnSpLocks/>
            <a:stCxn id="47" idx="1"/>
          </p:cNvCxnSpPr>
          <p:nvPr/>
        </p:nvCxnSpPr>
        <p:spPr>
          <a:xfrm flipH="1" flipV="1">
            <a:off x="6739003" y="2530259"/>
            <a:ext cx="810154" cy="168469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>
            <a:extLst>
              <a:ext uri="{FF2B5EF4-FFF2-40B4-BE49-F238E27FC236}">
                <a16:creationId xmlns:a16="http://schemas.microsoft.com/office/drawing/2014/main" id="{3287979F-B375-4F10-B5A3-2293A65A58B8}"/>
              </a:ext>
            </a:extLst>
          </p:cNvPr>
          <p:cNvCxnSpPr>
            <a:cxnSpLocks/>
            <a:stCxn id="47" idx="1"/>
          </p:cNvCxnSpPr>
          <p:nvPr/>
        </p:nvCxnSpPr>
        <p:spPr>
          <a:xfrm flipH="1">
            <a:off x="6747257" y="4214955"/>
            <a:ext cx="801900" cy="162217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文本框 46">
                <a:extLst>
                  <a:ext uri="{FF2B5EF4-FFF2-40B4-BE49-F238E27FC236}">
                    <a16:creationId xmlns:a16="http://schemas.microsoft.com/office/drawing/2014/main" id="{0E4DC073-1287-41C4-873B-482DE04B8E17}"/>
                  </a:ext>
                </a:extLst>
              </p:cNvPr>
              <p:cNvSpPr txBox="1"/>
              <p:nvPr/>
            </p:nvSpPr>
            <p:spPr>
              <a:xfrm>
                <a:off x="7549157" y="3891789"/>
                <a:ext cx="1177447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altLang="zh-CN" i="1" smtClean="0">
                          <a:latin typeface="Cambria Math" panose="02040503050406030204" pitchFamily="18" charset="0"/>
                        </a:rPr>
                        <m:t>V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≔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</m:oMath>
                  </m:oMathPara>
                </a14:m>
                <a:endParaRPr lang="en-US" altLang="zh-CN" b="0" dirty="0"/>
              </a:p>
              <a:p>
                <a:pPr algn="ctr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最优策略</a:t>
                </a:r>
              </a:p>
            </p:txBody>
          </p:sp>
        </mc:Choice>
        <mc:Fallback xmlns="">
          <p:sp>
            <p:nvSpPr>
              <p:cNvPr id="47" name="文本框 46">
                <a:extLst>
                  <a:ext uri="{FF2B5EF4-FFF2-40B4-BE49-F238E27FC236}">
                    <a16:creationId xmlns:a16="http://schemas.microsoft.com/office/drawing/2014/main" id="{0E4DC073-1287-41C4-873B-482DE04B8E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49157" y="3891789"/>
                <a:ext cx="1177447" cy="646331"/>
              </a:xfrm>
              <a:prstGeom prst="rect">
                <a:avLst/>
              </a:prstGeom>
              <a:blipFill>
                <a:blip r:embed="rId5"/>
                <a:stretch>
                  <a:fillRect l="-515" b="-1415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8318C592-1516-4510-B3F0-B2B20960E04E}"/>
                  </a:ext>
                </a:extLst>
              </p:cNvPr>
              <p:cNvSpPr txBox="1"/>
              <p:nvPr/>
            </p:nvSpPr>
            <p:spPr>
              <a:xfrm>
                <a:off x="2550344" y="1399746"/>
                <a:ext cx="180344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随机策略的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endParaRPr lang="zh-CN" altLang="zh-CN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8318C592-1516-4510-B3F0-B2B20960E0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50344" y="1399746"/>
                <a:ext cx="1803447" cy="369332"/>
              </a:xfrm>
              <a:prstGeom prst="rect">
                <a:avLst/>
              </a:prstGeom>
              <a:blipFill>
                <a:blip r:embed="rId6"/>
                <a:stretch>
                  <a:fillRect t="-8333" b="-28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B2273D55-EF55-4354-BBC8-ED84ABCD919B}"/>
                  </a:ext>
                </a:extLst>
              </p:cNvPr>
              <p:cNvSpPr txBox="1"/>
              <p:nvPr/>
            </p:nvSpPr>
            <p:spPr>
              <a:xfrm>
                <a:off x="4790211" y="1399746"/>
                <a:ext cx="204932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应的贪心策略</a:t>
                </a:r>
                <a:endParaRPr lang="zh-CN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B2273D55-EF55-4354-BBC8-ED84ABCD91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90211" y="1399746"/>
                <a:ext cx="2049327" cy="369332"/>
              </a:xfrm>
              <a:prstGeom prst="rect">
                <a:avLst/>
              </a:prstGeom>
              <a:blipFill>
                <a:blip r:embed="rId7"/>
                <a:stretch>
                  <a:fillRect t="-8333" r="-893" b="-28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015974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价值迭代 </a:t>
            </a:r>
            <a:r>
              <a:rPr lang="en-US" altLang="zh-CN" dirty="0"/>
              <a:t>vs.</a:t>
            </a:r>
            <a:r>
              <a:rPr lang="zh-CN" altLang="en-US" dirty="0"/>
              <a:t> 策略迭代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19302E9C-4641-499E-908B-5995ED47B116}"/>
              </a:ext>
            </a:extLst>
          </p:cNvPr>
          <p:cNvSpPr txBox="1">
            <a:spLocks/>
          </p:cNvSpPr>
          <p:nvPr/>
        </p:nvSpPr>
        <p:spPr>
          <a:xfrm>
            <a:off x="502443" y="3760228"/>
            <a:ext cx="7325249" cy="28935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备注：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457200" indent="-457200">
              <a:buFont typeface="+mj-lt"/>
              <a:buAutoNum type="arabicPeriod"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价值迭代是贪心更新法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457200" indent="-457200">
              <a:buFont typeface="+mj-lt"/>
              <a:buAutoNum type="arabicPeriod"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策略迭代中，用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Bellman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等式更新价值函数代价很大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457200" indent="-457200">
              <a:buFont typeface="+mj-lt"/>
              <a:buAutoNum type="arabicPeriod"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于空间较小的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MDP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，策略迭代通常很快收敛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457200" indent="-457200">
              <a:buFont typeface="+mj-lt"/>
              <a:buAutoNum type="arabicPeriod"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于空间较大的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MDP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，价值迭代更实用（效率更高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457200" indent="-457200">
              <a:buFont typeface="+mj-lt"/>
              <a:buAutoNum type="arabicPeriod"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如果没有状态转移循环，最好使用价值迭代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0C9CBE9-55C4-4068-83E8-641D8C5E715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1147208"/>
                <a:ext cx="4069557" cy="241399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价值迭代</a:t>
                </a:r>
                <a:endParaRPr lang="en-US" altLang="zh-CN" sz="1800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lvl="1" indent="457200">
                  <a:spcBef>
                    <a:spcPts val="0"/>
                  </a:spcBef>
                  <a:buFont typeface="+mj-lt"/>
                  <a:buAutoNum type="arabicPeriod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每个状态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s</m:t>
                    </m:r>
                    <m:r>
                      <a:rPr lang="zh-CN" altLang="en-US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初始化</a:t>
                </a:r>
                <a14:m>
                  <m:oMath xmlns:m="http://schemas.openxmlformats.org/officeDocument/2006/math">
                    <m:r>
                      <a:rPr lang="en-US" altLang="zh-CN" b="0" i="0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d>
                      <m:d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</m:d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0</m:t>
                    </m:r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lvl="1" indent="457200">
                  <a:spcBef>
                    <a:spcPts val="0"/>
                  </a:spcBef>
                  <a:buFont typeface="+mj-lt"/>
                  <a:buAutoNum type="arabicPeriod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重复以下过程直到收敛 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{</a:t>
                </a:r>
              </a:p>
              <a:p>
                <a:pPr marL="0" lvl="2" indent="457200">
                  <a:spcBef>
                    <a:spcPts val="0"/>
                  </a:spcBef>
                  <a:buNone/>
                </a:pP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对每个状态，更新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lvl="1" indent="457200">
                  <a:spcBef>
                    <a:spcPts val="0"/>
                  </a:spcBef>
                  <a:buFont typeface="+mj-lt"/>
                  <a:buAutoNum type="arabicPeriod"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lvl="1" indent="457200">
                  <a:spcBef>
                    <a:spcPts val="0"/>
                  </a:spcBef>
                  <a:buFont typeface="+mj-lt"/>
                  <a:buAutoNum type="arabicPeriod"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lvl="1" indent="457200">
                  <a:spcBef>
                    <a:spcPts val="0"/>
                  </a:spcBef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}</a:t>
                </a:r>
              </a:p>
            </p:txBody>
          </p:sp>
        </mc:Choice>
        <mc:Fallback xmlns="">
          <p:sp>
            <p:nvSpPr>
              <p:cNvPr id="8" name="内容占位符 2">
                <a:extLst>
                  <a:ext uri="{FF2B5EF4-FFF2-40B4-BE49-F238E27FC236}">
                    <a16:creationId xmlns:a16="http://schemas.microsoft.com/office/drawing/2014/main" id="{80C9CBE9-55C4-4068-83E8-641D8C5E71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147208"/>
                <a:ext cx="4069557" cy="2413997"/>
              </a:xfrm>
              <a:prstGeom prst="rect">
                <a:avLst/>
              </a:prstGeom>
              <a:blipFill>
                <a:blip r:embed="rId4"/>
                <a:stretch>
                  <a:fillRect l="-1647" t="-126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E063FB45-7E50-4D32-B84D-965BF9AD7496}"/>
                  </a:ext>
                </a:extLst>
              </p:cNvPr>
              <p:cNvSpPr txBox="1"/>
              <p:nvPr/>
            </p:nvSpPr>
            <p:spPr>
              <a:xfrm>
                <a:off x="524417" y="2223076"/>
                <a:ext cx="4317351" cy="6983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altLang="zh-CN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altLang="zh-CN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𝑅</m:t>
                      </m:r>
                      <m:d>
                        <m:dPr>
                          <m:ctrlPr>
                            <a:rPr lang="en-US" altLang="zh-CN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unc>
                        <m:funcPr>
                          <m:ctrlPr>
                            <a:rPr lang="en-US" altLang="zh-CN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sz="16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</m:t>
                              </m:r>
                            </m:lim>
                          </m:limLow>
                        </m:fName>
                        <m:e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𝑎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𝑉</m:t>
                              </m:r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e>
                      </m:func>
                    </m:oMath>
                  </m:oMathPara>
                </a14:m>
                <a:endParaRPr lang="zh-CN" altLang="zh-CN" sz="16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E063FB45-7E50-4D32-B84D-965BF9AD74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417" y="2223076"/>
                <a:ext cx="4317351" cy="69833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936E2133-0751-465A-A0CB-D2F927430459}"/>
              </a:ext>
            </a:extLst>
          </p:cNvPr>
          <p:cNvCxnSpPr>
            <a:cxnSpLocks/>
          </p:cNvCxnSpPr>
          <p:nvPr/>
        </p:nvCxnSpPr>
        <p:spPr>
          <a:xfrm>
            <a:off x="4464157" y="1147208"/>
            <a:ext cx="0" cy="2598074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549427D9-B872-48BC-8ADA-C2C490C95AE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733926" y="1166104"/>
                <a:ext cx="4068961" cy="249149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92500" lnSpcReduction="1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迭代</a:t>
                </a:r>
                <a:endParaRPr lang="en-US" altLang="zh-CN" sz="1800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lvl="1" indent="-457200">
                  <a:buFont typeface="+mj-lt"/>
                  <a:buAutoNum type="arabicPeriod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随机初始化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lvl="1" indent="-457200">
                  <a:buFont typeface="+mj-lt"/>
                  <a:buAutoNum type="arabicPeriod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重复以下过程直到收敛 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{</a:t>
                </a:r>
              </a:p>
              <a:p>
                <a:pPr marL="900000" lvl="2" indent="-457200">
                  <a:buFont typeface="+mj-lt"/>
                  <a:buAutoNum type="alphaLcParenR"/>
                </a:pP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让 </a:t>
                </a:r>
                <a14:m>
                  <m:oMath xmlns:m="http://schemas.openxmlformats.org/officeDocument/2006/math">
                    <m:r>
                      <a:rPr lang="en-US" altLang="zh-CN" sz="1800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r>
                      <a:rPr lang="en-US" altLang="zh-CN" sz="1800" b="0" i="0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≔</m:t>
                    </m:r>
                    <m:sSup>
                      <m:sSupPr>
                        <m:ctrlPr>
                          <a:rPr lang="en-US" altLang="zh-CN" sz="1800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sz="1800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</m:e>
                      <m:sup>
                        <m:r>
                          <a:rPr lang="en-US" altLang="zh-CN" sz="1800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sup>
                    </m:sSup>
                  </m:oMath>
                </a14:m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900000" lvl="2" indent="-457200">
                  <a:buFont typeface="+mj-lt"/>
                  <a:buAutoNum type="alphaLcParenR"/>
                </a:pPr>
                <a:r>
                  <a:rPr lang="zh-CN" altLang="en-US" sz="18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每个状态，更新</a:t>
                </a: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914400" lvl="2" indent="0">
                  <a:buNone/>
                </a:pPr>
                <a:endParaRPr lang="en-US" altLang="zh-CN" sz="18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}</a:t>
                </a: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549427D9-B872-48BC-8ADA-C2C490C95A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33926" y="1166104"/>
                <a:ext cx="4068961" cy="2491496"/>
              </a:xfrm>
              <a:prstGeom prst="rect">
                <a:avLst/>
              </a:prstGeom>
              <a:blipFill>
                <a:blip r:embed="rId6"/>
                <a:stretch>
                  <a:fillRect l="-1349" t="-171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2F8AA405-3E1E-4FB9-A215-108E56E3DD2F}"/>
                  </a:ext>
                </a:extLst>
              </p:cNvPr>
              <p:cNvSpPr txBox="1"/>
              <p:nvPr/>
            </p:nvSpPr>
            <p:spPr>
              <a:xfrm>
                <a:off x="5278762" y="2613217"/>
                <a:ext cx="3502746" cy="6983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𝜋</m:t>
                      </m:r>
                      <m:d>
                        <m:dPr>
                          <m:ctrlPr>
                            <a:rPr lang="en-US" altLang="zh-CN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altLang="zh-CN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𝑟𝑔</m:t>
                      </m:r>
                      <m:func>
                        <m:funcPr>
                          <m:ctrlPr>
                            <a:rPr lang="en-US" altLang="zh-CN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sz="16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</m:t>
                              </m:r>
                            </m:lim>
                          </m:limLow>
                        </m:fName>
                        <m:e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𝑎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𝑉</m:t>
                              </m:r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e>
                      </m:func>
                    </m:oMath>
                  </m:oMathPara>
                </a14:m>
                <a:endParaRPr lang="zh-CN" altLang="zh-CN" sz="16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2F8AA405-3E1E-4FB9-A215-108E56E3DD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78762" y="2613217"/>
                <a:ext cx="3502746" cy="698333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0382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3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阿里巴巴普惠体 R" panose="00020600040101010101" pitchFamily="18" charset="-122"/>
              <a:ea typeface="阿里巴巴普惠体 R" panose="00020600040101010101" pitchFamily="18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马尔可夫决策过程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54181F61-9DC0-45D7-B2BC-65D78020B54A}"/>
              </a:ext>
            </a:extLst>
          </p:cNvPr>
          <p:cNvSpPr txBox="1"/>
          <p:nvPr/>
        </p:nvSpPr>
        <p:spPr>
          <a:xfrm>
            <a:off x="2277270" y="4838139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讲师：张伟楠 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基于模型的强化学习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CDF74BEE-C522-4A1F-811C-B47765233978}"/>
              </a:ext>
            </a:extLst>
          </p:cNvPr>
          <p:cNvSpPr txBox="1"/>
          <p:nvPr/>
        </p:nvSpPr>
        <p:spPr>
          <a:xfrm>
            <a:off x="2277270" y="4868119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讲师：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en-US" altLang="zh-CN" dirty="0">
              <a:solidFill>
                <a:srgbClr val="00B0F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学习一个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MDP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模型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1200727"/>
                <a:ext cx="8137922" cy="533861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目前我们关注在给出一个已知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DP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模型后：（也就是说，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转移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𝑃</m:t>
                        </m:r>
                      </m:e>
                      <m:sub>
                        <m:r>
                          <a:rPr lang="en-US" altLang="zh-CN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𝑎</m:t>
                        </m:r>
                      </m:sub>
                    </m:sSub>
                    <m:r>
                      <a:rPr lang="en-US" altLang="zh-CN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′)</m:t>
                    </m:r>
                  </m:oMath>
                </a14:m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奖励函数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  <m:r>
                      <a:rPr lang="en-US" altLang="zh-CN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明确给定后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计算最优价值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学习最优策略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实际问题中，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转移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奖励函数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一般不是明确给出的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比如，我们只看到了一些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episodes</a:t>
                </a:r>
              </a:p>
              <a:p>
                <a:pPr lvl="1">
                  <a:lnSpc>
                    <a:spcPct val="150000"/>
                  </a:lnSpc>
                </a:pPr>
                <a:endParaRPr lang="en-US" altLang="zh-CN" sz="9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Episode1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endParaRPr lang="en-US" altLang="zh-CN" sz="9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Episode2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200727"/>
                <a:ext cx="8137922" cy="5338617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E3A5D8FE-A925-483D-B8BC-A1739DC3A352}"/>
                  </a:ext>
                </a:extLst>
              </p:cNvPr>
              <p:cNvSpPr txBox="1"/>
              <p:nvPr/>
            </p:nvSpPr>
            <p:spPr>
              <a:xfrm>
                <a:off x="1959917" y="4352413"/>
                <a:ext cx="6680447" cy="6360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(1)</m:t>
                          </m:r>
                        </m:sup>
                      </m:sSubSup>
                      <m:groupChr>
                        <m:groupChrPr>
                          <m:chr m:val="→"/>
                          <m:vertJc m:val="bot"/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Sup>
                            <m:sSubSup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brk m:alnAt="2"/>
                                </m:r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m:rPr>
                                  <m:brk m:alnAt="2"/>
                                </m:r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2"/>
                                    </m:r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  <m:r>
                            <m:rPr>
                              <m:brk m:alnAt="2"/>
                            </m:r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  <m:sSup>
                            <m:sSup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brk m:alnAt="2"/>
                                        </m:r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m:rPr>
                                          <m:brk m:alnAt="2"/>
                                        </m:r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2"/>
                                    </m:r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p>
                        </m:e>
                      </m:groupChr>
                      <m:sSubSup>
                        <m:sSubSup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(1)</m:t>
                          </m:r>
                        </m:sup>
                      </m:sSubSup>
                      <m:groupChr>
                        <m:groupChrPr>
                          <m:chr m:val="→"/>
                          <m:vertJc m:val="bot"/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Sup>
                            <m:sSub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brk m:alnAt="2"/>
                                </m:r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2"/>
                                    </m:r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  <m:r>
                            <m:rPr>
                              <m:brk m:alnAt="2"/>
                            </m:rPr>
                            <a:rPr lang="en-US" altLang="zh-CN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𝑅</m:t>
                          </m:r>
                          <m:sSup>
                            <m:s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brk m:alnAt="2"/>
                                        </m:rP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2"/>
                                    </m:r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p>
                        </m:e>
                      </m:groupChr>
                      <m:sSubSup>
                        <m:sSubSup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(1)</m:t>
                          </m:r>
                        </m:sup>
                      </m:sSubSup>
                      <m:groupChr>
                        <m:groupChrPr>
                          <m:chr m:val="→"/>
                          <m:vertJc m:val="bot"/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Sup>
                            <m:sSub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brk m:alnAt="2"/>
                                </m:r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2"/>
                                    </m:r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  <m:r>
                            <m:rPr>
                              <m:brk m:alnAt="2"/>
                            </m:rPr>
                            <a:rPr lang="en-US" altLang="zh-CN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𝑅</m:t>
                          </m:r>
                          <m:sSup>
                            <m:s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2"/>
                                    </m:r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p>
                        </m:e>
                      </m:groupChr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d>
                        </m:sup>
                      </m:sSubSup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⋅⋅⋅</m:t>
                      </m:r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sub>
                        <m:sup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d>
                        </m:sup>
                      </m:sSubSup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E3A5D8FE-A925-483D-B8BC-A1739DC3A3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59917" y="4352413"/>
                <a:ext cx="6680447" cy="63600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F6CDE6BA-3AF7-4F16-887E-1AEF4F7B428F}"/>
                  </a:ext>
                </a:extLst>
              </p:cNvPr>
              <p:cNvSpPr txBox="1"/>
              <p:nvPr/>
            </p:nvSpPr>
            <p:spPr>
              <a:xfrm>
                <a:off x="1959917" y="5080920"/>
                <a:ext cx="6680447" cy="6360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(2)</m:t>
                          </m:r>
                        </m:sup>
                      </m:sSubSup>
                      <m:groupChr>
                        <m:groupChrPr>
                          <m:chr m:val="→"/>
                          <m:vertJc m:val="bot"/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Sup>
                            <m:sSubSup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brk m:alnAt="2"/>
                                </m:r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m:rPr>
                                  <m:brk m:alnAt="2"/>
                                </m:r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bSup>
                          <m:r>
                            <m:rPr>
                              <m:brk m:alnAt="2"/>
                            </m:r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  <m:sSup>
                            <m:sSup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brk m:alnAt="2"/>
                                        </m:r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m:rPr>
                                          <m:brk m:alnAt="2"/>
                                        </m:r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p>
                        </m:e>
                      </m:groupChr>
                      <m:sSubSup>
                        <m:sSubSup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)</m:t>
                          </m:r>
                        </m:sup>
                      </m:sSubSup>
                      <m:groupChr>
                        <m:groupChrPr>
                          <m:chr m:val="→"/>
                          <m:vertJc m:val="bot"/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Sup>
                            <m:sSub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brk m:alnAt="2"/>
                                </m:r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bSup>
                          <m:r>
                            <m:rPr>
                              <m:brk m:alnAt="2"/>
                            </m:rPr>
                            <a:rPr lang="en-US" altLang="zh-CN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𝑅</m:t>
                          </m:r>
                          <m:sSup>
                            <m:s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brk m:alnAt="2"/>
                                        </m:rP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p>
                        </m:e>
                      </m:groupChr>
                      <m:sSubSup>
                        <m:sSubSup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)</m:t>
                          </m:r>
                        </m:sup>
                      </m:sSubSup>
                      <m:groupChr>
                        <m:groupChrPr>
                          <m:chr m:val="→"/>
                          <m:vertJc m:val="bot"/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Sup>
                            <m:sSub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brk m:alnAt="2"/>
                                </m:r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bSup>
                          <m:r>
                            <m:rPr>
                              <m:brk m:alnAt="2"/>
                            </m:rPr>
                            <a:rPr lang="en-US" altLang="zh-CN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𝑅</m:t>
                          </m:r>
                          <m:sSup>
                            <m:s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p>
                        </m:e>
                      </m:groupChr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</m:d>
                        </m:sup>
                      </m:sSubSup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⋅⋅⋅</m:t>
                      </m:r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sub>
                        <m:sup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</m:d>
                        </m:sup>
                      </m:sSubSup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F6CDE6BA-3AF7-4F16-887E-1AEF4F7B428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59917" y="5080920"/>
                <a:ext cx="6680447" cy="63600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59911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学习一个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MDP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模型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97542" y="3370782"/>
                <a:ext cx="8042823" cy="266598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从“经验”中学习一个</a:t>
                </a:r>
                <a:r>
                  <a:rPr lang="en-US" altLang="zh-CN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DP</a:t>
                </a: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模型</a:t>
                </a: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学习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转移概率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𝑃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𝑎</m:t>
                        </m:r>
                      </m:sub>
                    </m:sSub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s</m:t>
                        </m:r>
                        <m: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’</m:t>
                        </m:r>
                      </m:e>
                    </m:d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buFont typeface="Wingdings" panose="05000000000000000000" pitchFamily="2" charset="2"/>
                  <a:buChar char="p"/>
                </a:pP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buFont typeface="Wingdings" panose="05000000000000000000" pitchFamily="2" charset="2"/>
                  <a:buChar char="p"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buFont typeface="Wingdings" panose="05000000000000000000" pitchFamily="2" charset="2"/>
                  <a:buChar char="p"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学习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奖励函数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  <m:d>
                      <m:d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</m:d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也就是立即奖赏期望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7542" y="3370782"/>
                <a:ext cx="8042823" cy="2665982"/>
              </a:xfrm>
              <a:prstGeom prst="rect">
                <a:avLst/>
              </a:prstGeom>
              <a:blipFill>
                <a:blip r:embed="rId5"/>
                <a:stretch>
                  <a:fillRect l="-455" t="-137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文本框 5">
            <a:extLst>
              <a:ext uri="{FF2B5EF4-FFF2-40B4-BE49-F238E27FC236}">
                <a16:creationId xmlns:a16="http://schemas.microsoft.com/office/drawing/2014/main" id="{E3A5D8FE-A925-483D-B8BC-A1739DC3A352}"/>
              </a:ext>
            </a:extLst>
          </p:cNvPr>
          <p:cNvSpPr txBox="1"/>
          <p:nvPr/>
        </p:nvSpPr>
        <p:spPr>
          <a:xfrm>
            <a:off x="601906" y="1556200"/>
            <a:ext cx="7895323" cy="15720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Episode1</a:t>
            </a: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：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en-US" altLang="zh-CN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Episode2</a:t>
            </a: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：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ts val="500"/>
              </a:lnSpc>
            </a:pPr>
            <a:r>
              <a:rPr lang="en-US" altLang="zh-CN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      .                                                             . </a:t>
            </a:r>
          </a:p>
          <a:p>
            <a:pPr>
              <a:lnSpc>
                <a:spcPts val="500"/>
              </a:lnSpc>
            </a:pPr>
            <a:r>
              <a:rPr lang="en-US" altLang="zh-CN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      .                                                             .</a:t>
            </a:r>
          </a:p>
          <a:p>
            <a:pPr>
              <a:lnSpc>
                <a:spcPts val="500"/>
              </a:lnSpc>
            </a:pPr>
            <a:r>
              <a:rPr lang="en-US" altLang="zh-CN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      .                                                             .</a:t>
            </a:r>
            <a:endParaRPr lang="zh-CN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B8A5D99-5182-4091-BAC2-CA336E3FEA2F}"/>
                  </a:ext>
                </a:extLst>
              </p:cNvPr>
              <p:cNvSpPr txBox="1"/>
              <p:nvPr/>
            </p:nvSpPr>
            <p:spPr>
              <a:xfrm>
                <a:off x="679707" y="4242169"/>
                <a:ext cx="7878491" cy="6793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𝑃</m:t>
                          </m:r>
                        </m:e>
                        <m:sub>
                          <m:r>
                            <a:rPr lang="en-US" altLang="zh-CN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𝑠𝑎</m:t>
                          </m:r>
                        </m:sub>
                      </m:sSub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</m:e>
                      </m:d>
                      <m:r>
                        <a:rPr lang="en-US" altLang="zh-CN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m:rPr>
                              <m:nor/>
                            </m:rPr>
                            <a:rPr lang="zh-CN" altLang="en-US" i="0">
                              <a:latin typeface="阿里巴巴普惠体 R" panose="00020600040101010101" pitchFamily="18" charset="-122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在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m:rPr>
                              <m:nor/>
                            </m:rPr>
                            <a:rPr lang="zh-CN" altLang="en-US" i="0">
                              <a:latin typeface="阿里巴巴普惠体 R" panose="00020600040101010101" pitchFamily="18" charset="-122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下采取动作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m:rPr>
                              <m:nor/>
                            </m:rPr>
                            <a:rPr lang="zh-CN" altLang="en-US" i="0">
                              <a:latin typeface="阿里巴巴普惠体 R" panose="00020600040101010101" pitchFamily="18" charset="-122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并转移到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’</m:t>
                          </m:r>
                          <m:r>
                            <m:rPr>
                              <m:nor/>
                            </m:rPr>
                            <a:rPr lang="zh-CN" altLang="en-US" i="0">
                              <a:latin typeface="阿里巴巴普惠体 R" panose="00020600040101010101" pitchFamily="18" charset="-122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的次数</m:t>
                          </m:r>
                        </m:num>
                        <m:den>
                          <m:r>
                            <m:rPr>
                              <m:nor/>
                            </m:rPr>
                            <a:rPr lang="zh-CN" altLang="en-US" i="0">
                              <a:latin typeface="阿里巴巴普惠体 R" panose="00020600040101010101" pitchFamily="18" charset="-122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在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m:rPr>
                              <m:nor/>
                            </m:rPr>
                            <a:rPr lang="zh-CN" altLang="en-US" i="0">
                              <a:latin typeface="阿里巴巴普惠体 R" panose="00020600040101010101" pitchFamily="18" charset="-122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下采取动作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m:rPr>
                              <m:nor/>
                            </m:rPr>
                            <a:rPr lang="zh-CN" altLang="en-US" i="0">
                              <a:latin typeface="阿里巴巴普惠体 R" panose="00020600040101010101" pitchFamily="18" charset="-122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的次数</m:t>
                          </m:r>
                        </m:den>
                      </m:f>
                    </m:oMath>
                  </m:oMathPara>
                </a14:m>
                <a:endParaRPr lang="zh-CN" altLang="zh-CN" dirty="0">
                  <a:latin typeface="Cambria Math" panose="02040503050406030204" pitchFamily="18" charset="0"/>
                  <a:ea typeface="Cambria Math" panose="02040503050406030204" pitchFamily="18" charset="0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CB8A5D99-5182-4091-BAC2-CA336E3FEA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9707" y="4242169"/>
                <a:ext cx="7878491" cy="679353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0E557074-10E1-4B83-8D40-1969CDC26CE1}"/>
                  </a:ext>
                </a:extLst>
              </p:cNvPr>
              <p:cNvSpPr txBox="1"/>
              <p:nvPr/>
            </p:nvSpPr>
            <p:spPr>
              <a:xfrm>
                <a:off x="2055017" y="1313651"/>
                <a:ext cx="6680447" cy="6360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(1)</m:t>
                          </m:r>
                        </m:sup>
                      </m:sSubSup>
                      <m:groupChr>
                        <m:groupChrPr>
                          <m:chr m:val="→"/>
                          <m:vertJc m:val="bot"/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Sup>
                            <m:sSubSup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brk m:alnAt="2"/>
                                </m:r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m:rPr>
                                  <m:brk m:alnAt="2"/>
                                </m:r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2"/>
                                    </m:r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  <m:r>
                            <m:rPr>
                              <m:brk m:alnAt="2"/>
                            </m:r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  <m:sSup>
                            <m:sSup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brk m:alnAt="2"/>
                                        </m:r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m:rPr>
                                          <m:brk m:alnAt="2"/>
                                        </m:r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2"/>
                                    </m:r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p>
                        </m:e>
                      </m:groupChr>
                      <m:sSubSup>
                        <m:sSubSup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(1)</m:t>
                          </m:r>
                        </m:sup>
                      </m:sSubSup>
                      <m:groupChr>
                        <m:groupChrPr>
                          <m:chr m:val="→"/>
                          <m:vertJc m:val="bot"/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Sup>
                            <m:sSub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brk m:alnAt="2"/>
                                </m:r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2"/>
                                    </m:r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  <m:r>
                            <m:rPr>
                              <m:brk m:alnAt="2"/>
                            </m:rPr>
                            <a:rPr lang="en-US" altLang="zh-CN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𝑅</m:t>
                          </m:r>
                          <m:sSup>
                            <m:s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brk m:alnAt="2"/>
                                        </m:rP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2"/>
                                    </m:r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p>
                        </m:e>
                      </m:groupChr>
                      <m:sSubSup>
                        <m:sSubSup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(1)</m:t>
                          </m:r>
                        </m:sup>
                      </m:sSubSup>
                      <m:groupChr>
                        <m:groupChrPr>
                          <m:chr m:val="→"/>
                          <m:vertJc m:val="bot"/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Sup>
                            <m:sSub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brk m:alnAt="2"/>
                                </m:r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2"/>
                                    </m:r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  <m:r>
                            <m:rPr>
                              <m:brk m:alnAt="2"/>
                            </m:rPr>
                            <a:rPr lang="en-US" altLang="zh-CN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𝑅</m:t>
                          </m:r>
                          <m:sSup>
                            <m:s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2"/>
                                    </m:r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p>
                        </m:e>
                      </m:groupChr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d>
                        </m:sup>
                      </m:sSubSup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⋅⋅⋅</m:t>
                      </m:r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sub>
                        <m:sup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d>
                        </m:sup>
                      </m:sSubSup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0E557074-10E1-4B83-8D40-1969CDC26C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55017" y="1313651"/>
                <a:ext cx="6680447" cy="63600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6D21C32F-1DE9-4EAF-B87A-71C604616839}"/>
                  </a:ext>
                </a:extLst>
              </p:cNvPr>
              <p:cNvSpPr txBox="1"/>
              <p:nvPr/>
            </p:nvSpPr>
            <p:spPr>
              <a:xfrm>
                <a:off x="2055017" y="2017877"/>
                <a:ext cx="6680447" cy="6360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(2)</m:t>
                          </m:r>
                        </m:sup>
                      </m:sSubSup>
                      <m:groupChr>
                        <m:groupChrPr>
                          <m:chr m:val="→"/>
                          <m:vertJc m:val="bot"/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Sup>
                            <m:sSubSup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brk m:alnAt="2"/>
                                </m:r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m:rPr>
                                  <m:brk m:alnAt="2"/>
                                </m:r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bSup>
                          <m:r>
                            <m:rPr>
                              <m:brk m:alnAt="2"/>
                            </m:r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  <m:sSup>
                            <m:sSup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brk m:alnAt="2"/>
                                        </m:r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m:rPr>
                                          <m:brk m:alnAt="2"/>
                                        </m:r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p>
                        </m:e>
                      </m:groupChr>
                      <m:sSubSup>
                        <m:sSubSup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)</m:t>
                          </m:r>
                        </m:sup>
                      </m:sSubSup>
                      <m:groupChr>
                        <m:groupChrPr>
                          <m:chr m:val="→"/>
                          <m:vertJc m:val="bot"/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Sup>
                            <m:sSub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brk m:alnAt="2"/>
                                </m:r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bSup>
                          <m:r>
                            <m:rPr>
                              <m:brk m:alnAt="2"/>
                            </m:rPr>
                            <a:rPr lang="en-US" altLang="zh-CN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𝑅</m:t>
                          </m:r>
                          <m:sSup>
                            <m:s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brk m:alnAt="2"/>
                                        </m:rP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p>
                        </m:e>
                      </m:groupChr>
                      <m:sSubSup>
                        <m:sSubSup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)</m:t>
                          </m:r>
                        </m:sup>
                      </m:sSubSup>
                      <m:groupChr>
                        <m:groupChrPr>
                          <m:chr m:val="→"/>
                          <m:vertJc m:val="bot"/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Sup>
                            <m:sSub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brk m:alnAt="2"/>
                                </m:r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bSup>
                          <m:r>
                            <m:rPr>
                              <m:brk m:alnAt="2"/>
                            </m:rPr>
                            <a:rPr lang="en-US" altLang="zh-CN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𝑅</m:t>
                          </m:r>
                          <m:sSup>
                            <m:s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p>
                        </m:e>
                      </m:groupChr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</m:d>
                        </m:sup>
                      </m:sSubSup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⋅⋅⋅</m:t>
                      </m:r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sub>
                        <m:sup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</m:d>
                        </m:sup>
                      </m:sSubSup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6D21C32F-1DE9-4EAF-B87A-71C6046168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55017" y="2017877"/>
                <a:ext cx="6680447" cy="636008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4D893A80-3FC0-487A-9D95-EEF3B82BC4BB}"/>
                  </a:ext>
                </a:extLst>
              </p:cNvPr>
              <p:cNvSpPr txBox="1"/>
              <p:nvPr/>
            </p:nvSpPr>
            <p:spPr>
              <a:xfrm>
                <a:off x="1278728" y="5556242"/>
                <a:ext cx="6680447" cy="3882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𝑅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𝑣𝑒𝑟𝑎𝑔𝑒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{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𝑅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e>
                        <m:sup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</m:sup>
                      </m:sSup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}</m:t>
                      </m:r>
                    </m:oMath>
                  </m:oMathPara>
                </a14:m>
                <a:endParaRPr lang="zh-CN" altLang="zh-CN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4D893A80-3FC0-487A-9D95-EEF3B82BC4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78728" y="5556242"/>
                <a:ext cx="6680447" cy="388248"/>
              </a:xfrm>
              <a:prstGeom prst="rect">
                <a:avLst/>
              </a:prstGeom>
              <a:blipFill>
                <a:blip r:embed="rId9"/>
                <a:stretch>
                  <a:fillRect b="-1718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38370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学习模型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&amp;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优化策略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3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1265320"/>
                <a:ext cx="8137922" cy="449817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算法</a:t>
                </a: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914400" lvl="1" indent="-4572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随机初始化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914400" lvl="1" indent="-457200">
                  <a:buFont typeface="+mj-lt"/>
                  <a:buAutoNum type="arabicPeriod"/>
                </a:pP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914400" lvl="1" indent="-4572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重复以下过程直到收敛 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{</a:t>
                </a:r>
              </a:p>
              <a:p>
                <a:pPr marL="1257300" lvl="2" indent="-342900">
                  <a:lnSpc>
                    <a:spcPct val="150000"/>
                  </a:lnSpc>
                  <a:buFont typeface="+mj-lt"/>
                  <a:buAutoNum type="alphaLcParenR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DP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中执行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  <m:r>
                      <a:rPr lang="zh-CN" altLang="en-US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收集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经验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数据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257300" lvl="2" indent="-342900">
                  <a:lnSpc>
                    <a:spcPct val="150000"/>
                  </a:lnSpc>
                  <a:buFont typeface="+mj-lt"/>
                  <a:buAutoNum type="alphaLcParenR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使用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DP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中的累积经验更新对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𝑃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𝑎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估计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257300" lvl="2" indent="-342900">
                  <a:lnSpc>
                    <a:spcPct val="150000"/>
                  </a:lnSpc>
                  <a:buFont typeface="+mj-lt"/>
                  <a:buAutoNum type="alphaLcParenR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利用</a:t>
                </a:r>
                <a14:m>
                  <m:oMath xmlns:m="http://schemas.openxmlformats.org/officeDocument/2006/math">
                    <m:r>
                      <a:rPr lang="zh-CN" altLang="en-US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对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𝑃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𝑎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估计执行价值迭代，得到新的估计价值函数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257300" lvl="2" indent="-342900">
                  <a:lnSpc>
                    <a:spcPct val="150000"/>
                  </a:lnSpc>
                  <a:buFont typeface="+mj-lt"/>
                  <a:buAutoNum type="alphaLcParenR"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根据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新策略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𝜋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为</m:t>
                    </m:r>
                  </m:oMath>
                </a14:m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贪心策略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}</a:t>
                </a: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265320"/>
                <a:ext cx="8137922" cy="4498171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7570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学习一个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MDP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模型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/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4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19302E9C-4641-499E-908B-5995ED47B116}"/>
              </a:ext>
            </a:extLst>
          </p:cNvPr>
          <p:cNvSpPr txBox="1">
            <a:spLocks/>
          </p:cNvSpPr>
          <p:nvPr/>
        </p:nvSpPr>
        <p:spPr>
          <a:xfrm>
            <a:off x="502443" y="1261795"/>
            <a:ext cx="8137922" cy="49786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实际问题中，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状态转移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和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奖励函数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一般不是明确给出的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比如，我们只看到了一些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episodes</a:t>
            </a:r>
          </a:p>
          <a:p>
            <a:pPr marL="457200" lvl="1" indent="0">
              <a:lnSpc>
                <a:spcPct val="150000"/>
              </a:lnSpc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457200" lvl="1" indent="0">
              <a:lnSpc>
                <a:spcPct val="150000"/>
              </a:lnSpc>
              <a:buNone/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Episode1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：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457200" lvl="1" indent="0">
              <a:lnSpc>
                <a:spcPct val="150000"/>
              </a:lnSpc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457200" lvl="1" indent="0">
              <a:lnSpc>
                <a:spcPct val="150000"/>
              </a:lnSpc>
              <a:buNone/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Episode2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：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另一种解决方式是不学习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MDP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，从经验中直接学习价值函数和策略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也就是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模型无关的强化学习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Model-free Reinforcement Learning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E3A5D8FE-A925-483D-B8BC-A1739DC3A352}"/>
                  </a:ext>
                </a:extLst>
              </p:cNvPr>
              <p:cNvSpPr txBox="1"/>
              <p:nvPr/>
            </p:nvSpPr>
            <p:spPr>
              <a:xfrm>
                <a:off x="1959916" y="2602906"/>
                <a:ext cx="6680447" cy="6360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(1)</m:t>
                          </m:r>
                        </m:sup>
                      </m:sSubSup>
                      <m:groupChr>
                        <m:groupChrPr>
                          <m:chr m:val="→"/>
                          <m:vertJc m:val="bot"/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Sup>
                            <m:sSubSup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brk m:alnAt="2"/>
                                </m:r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m:rPr>
                                  <m:brk m:alnAt="2"/>
                                </m:r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2"/>
                                    </m:r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  <m:r>
                            <m:rPr>
                              <m:brk m:alnAt="2"/>
                            </m:r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  <m:sSup>
                            <m:sSup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brk m:alnAt="2"/>
                                        </m:r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m:rPr>
                                          <m:brk m:alnAt="2"/>
                                        </m:r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2"/>
                                    </m:r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p>
                        </m:e>
                      </m:groupChr>
                      <m:sSubSup>
                        <m:sSubSup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(1)</m:t>
                          </m:r>
                        </m:sup>
                      </m:sSubSup>
                      <m:groupChr>
                        <m:groupChrPr>
                          <m:chr m:val="→"/>
                          <m:vertJc m:val="bot"/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Sup>
                            <m:sSub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brk m:alnAt="2"/>
                                </m:r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2"/>
                                    </m:r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  <m:r>
                            <m:rPr>
                              <m:brk m:alnAt="2"/>
                            </m:rPr>
                            <a:rPr lang="en-US" altLang="zh-CN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𝑅</m:t>
                          </m:r>
                          <m:sSup>
                            <m:s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brk m:alnAt="2"/>
                                        </m:rP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2"/>
                                    </m:r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p>
                        </m:e>
                      </m:groupChr>
                      <m:sSubSup>
                        <m:sSubSup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(1)</m:t>
                          </m:r>
                        </m:sup>
                      </m:sSubSup>
                      <m:groupChr>
                        <m:groupChrPr>
                          <m:chr m:val="→"/>
                          <m:vertJc m:val="bot"/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Sup>
                            <m:sSub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brk m:alnAt="2"/>
                                </m:r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2"/>
                                    </m:r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bSup>
                          <m:r>
                            <m:rPr>
                              <m:brk m:alnAt="2"/>
                            </m:rPr>
                            <a:rPr lang="en-US" altLang="zh-CN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𝑅</m:t>
                          </m:r>
                          <m:sSup>
                            <m:s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2"/>
                                    </m:r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e>
                              </m:d>
                            </m:sup>
                          </m:sSup>
                        </m:e>
                      </m:groupChr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d>
                        </m:sup>
                      </m:sSubSup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⋅⋅⋅</m:t>
                      </m:r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sub>
                        <m:sup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d>
                        </m:sup>
                      </m:sSubSup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E3A5D8FE-A925-483D-B8BC-A1739DC3A3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59916" y="2602906"/>
                <a:ext cx="6680447" cy="63600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F6CDE6BA-3AF7-4F16-887E-1AEF4F7B428F}"/>
                  </a:ext>
                </a:extLst>
              </p:cNvPr>
              <p:cNvSpPr txBox="1"/>
              <p:nvPr/>
            </p:nvSpPr>
            <p:spPr>
              <a:xfrm>
                <a:off x="1959916" y="3551260"/>
                <a:ext cx="6680447" cy="6360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  <m:sup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(2)</m:t>
                          </m:r>
                        </m:sup>
                      </m:sSubSup>
                      <m:groupChr>
                        <m:groupChrPr>
                          <m:chr m:val="→"/>
                          <m:vertJc m:val="bot"/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Sup>
                            <m:sSubSup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brk m:alnAt="2"/>
                                </m:r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m:rPr>
                                  <m:brk m:alnAt="2"/>
                                </m:r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bSup>
                          <m:r>
                            <m:rPr>
                              <m:brk m:alnAt="2"/>
                            </m:r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  <m:sSup>
                            <m:sSup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brk m:alnAt="2"/>
                                        </m:r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m:rPr>
                                          <m:brk m:alnAt="2"/>
                                        </m:r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d>
                                <m:dPr>
                                  <m:ctrlP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p>
                        </m:e>
                      </m:groupChr>
                      <m:sSubSup>
                        <m:sSubSup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)</m:t>
                          </m:r>
                        </m:sup>
                      </m:sSubSup>
                      <m:groupChr>
                        <m:groupChrPr>
                          <m:chr m:val="→"/>
                          <m:vertJc m:val="bot"/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Sup>
                            <m:sSub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brk m:alnAt="2"/>
                                </m:r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bSup>
                          <m:r>
                            <m:rPr>
                              <m:brk m:alnAt="2"/>
                            </m:rPr>
                            <a:rPr lang="en-US" altLang="zh-CN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𝑅</m:t>
                          </m:r>
                          <m:sSup>
                            <m:s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brk m:alnAt="2"/>
                                        </m:rP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p>
                        </m:e>
                      </m:groupChr>
                      <m:sSubSup>
                        <m:sSubSupPr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)</m:t>
                          </m:r>
                        </m:sup>
                      </m:sSubSup>
                      <m:groupChr>
                        <m:groupChrPr>
                          <m:chr m:val="→"/>
                          <m:vertJc m:val="bot"/>
                          <m:ctrlPr>
                            <a:rPr lang="en-US" altLang="zh-CN" sz="2000" i="1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Sup>
                            <m:sSub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brk m:alnAt="2"/>
                                </m:r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bSup>
                          <m:r>
                            <m:rPr>
                              <m:brk m:alnAt="2"/>
                            </m:rPr>
                            <a:rPr lang="en-US" altLang="zh-CN" sz="2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𝑅</m:t>
                          </m:r>
                          <m:sSup>
                            <m:sSupPr>
                              <m:ctrlP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sz="2000" b="0" i="1" smtClean="0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d>
                                <m:dPr>
                                  <m:ctrlP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0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d>
                            </m:sup>
                          </m:sSup>
                        </m:e>
                      </m:groupChr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  <m:sup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</m:d>
                        </m:sup>
                      </m:sSubSup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⋅⋅⋅</m:t>
                      </m:r>
                      <m:sSubSup>
                        <m:sSubSupPr>
                          <m:ctrlP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sub>
                        <m:sup>
                          <m:d>
                            <m:dPr>
                              <m:ctrlP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</m:d>
                        </m:sup>
                      </m:sSubSup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F6CDE6BA-3AF7-4F16-887E-1AEF4F7B428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59916" y="3551260"/>
                <a:ext cx="6680447" cy="63600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363496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5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马尔可夫决策过程总结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内容占位符 3">
                <a:extLst>
                  <a:ext uri="{FF2B5EF4-FFF2-40B4-BE49-F238E27FC236}">
                    <a16:creationId xmlns:a16="http://schemas.microsoft.com/office/drawing/2014/main" id="{83515A53-D28B-4149-8676-420D29BF58AB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502444" y="1273629"/>
                <a:ext cx="8137922" cy="4863646"/>
              </a:xfrm>
            </p:spPr>
            <p:txBody>
              <a:bodyPr>
                <a:normAutofit/>
              </a:bodyPr>
              <a:lstStyle/>
              <a:p>
                <a:r>
                  <a:rPr lang="en-US" altLang="zh-CN" sz="2000" dirty="0"/>
                  <a:t>MDP</a:t>
                </a:r>
                <a:r>
                  <a:rPr lang="zh-CN" altLang="en-US" sz="2000" dirty="0"/>
                  <a:t>由一个五元组构成 </a:t>
                </a:r>
                <a14:m>
                  <m:oMath xmlns:m="http://schemas.openxmlformats.org/officeDocument/2006/math">
                    <m:r>
                      <a:rPr lang="en-US" altLang="zh-CN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𝑆</m:t>
                    </m:r>
                    <m:r>
                      <a:rPr lang="en-US" altLang="zh-CN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altLang="zh-CN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𝐴</m:t>
                    </m:r>
                    <m:r>
                      <a:rPr lang="en-US" altLang="zh-CN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,</m:t>
                    </m:r>
                    <m:d>
                      <m:dPr>
                        <m:begChr m:val="{"/>
                        <m:endChr m:val="}"/>
                        <m:ctrlPr>
                          <a:rPr lang="en-US" altLang="zh-CN" sz="2000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2000" i="1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000" i="1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altLang="zh-CN" sz="2000" i="1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𝑠𝑎</m:t>
                            </m:r>
                          </m:sub>
                        </m:sSub>
                      </m:e>
                    </m:d>
                    <m:r>
                      <a:rPr lang="en-US" altLang="zh-CN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𝛾</m:t>
                    </m:r>
                    <m:r>
                      <a:rPr lang="en-US" altLang="zh-CN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𝑅</m:t>
                    </m:r>
                    <m:r>
                      <a:rPr lang="en-US" altLang="zh-CN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zh-CN" altLang="en-US" sz="2000" dirty="0"/>
                  <a:t>，其中状态转移</a:t>
                </a:r>
                <a14:m>
                  <m:oMath xmlns:m="http://schemas.openxmlformats.org/officeDocument/2006/math">
                    <m:r>
                      <a:rPr lang="en-US" altLang="zh-CN" sz="20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𝑃</m:t>
                    </m:r>
                    <m:r>
                      <a:rPr lang="zh-CN" altLang="en-US" sz="20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和</m:t>
                    </m:r>
                  </m:oMath>
                </a14:m>
                <a:r>
                  <a:rPr lang="zh-CN" altLang="en-US" sz="2000" dirty="0"/>
                  <a:t>奖励函数</a:t>
                </a:r>
                <a14:m>
                  <m:oMath xmlns:m="http://schemas.openxmlformats.org/officeDocument/2006/math">
                    <m:r>
                      <a:rPr lang="en-US" altLang="zh-CN" sz="2000" i="1" dirty="0" smtClean="0">
                        <a:latin typeface="Cambria Math" panose="02040503050406030204" pitchFamily="18" charset="0"/>
                      </a:rPr>
                      <m:t>𝑅</m:t>
                    </m:r>
                  </m:oMath>
                </a14:m>
                <a:r>
                  <a:rPr lang="zh-CN" altLang="en-US" sz="2000" dirty="0"/>
                  <a:t>构成了动态系统</a:t>
                </a:r>
                <a:endParaRPr lang="en-US" altLang="zh-CN" sz="2000" dirty="0"/>
              </a:p>
              <a:p>
                <a:endParaRPr lang="en-US" altLang="zh-CN" sz="2000" dirty="0"/>
              </a:p>
              <a:p>
                <a:pPr>
                  <a:spcAft>
                    <a:spcPts val="1200"/>
                  </a:spcAft>
                </a:pPr>
                <a:r>
                  <a:rPr lang="zh-CN" altLang="en-US" sz="2000" dirty="0"/>
                  <a:t>动态系统和策略交互的占用度量</a:t>
                </a:r>
                <a:endParaRPr lang="en-US" altLang="zh-CN" sz="2000" dirty="0"/>
              </a:p>
              <a:p>
                <a:pPr marL="0" indent="0">
                  <a:spcBef>
                    <a:spcPts val="1200"/>
                  </a:spcBef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zh-CN" alt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𝜌</m:t>
                          </m:r>
                        </m:e>
                        <m:sup>
                          <m:r>
                            <a:rPr lang="zh-CN" alt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en-US" altLang="zh-CN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𝔼</m:t>
                          </m:r>
                        </m:e>
                        <m:sub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~</m:t>
                          </m:r>
                          <m:r>
                            <a:rPr lang="zh-CN" alt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  <m:d>
                            <m:dPr>
                              <m:ctrlPr>
                                <a:rPr lang="en-US" altLang="zh-CN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   </m:t>
                          </m:r>
                          <m:sSup>
                            <m:sSupPr>
                              <m:ctrlPr>
                                <a:rPr lang="en-US" altLang="zh-CN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~</m:t>
                          </m:r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limLoc m:val="subSup"/>
                              <m:ctrlPr>
                                <a:rPr lang="en-US" altLang="zh-CN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lang="en-US" altLang="zh-CN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altLang="zh-CN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en-US" altLang="zh-CN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</m:t>
                              </m:r>
                            </m:sup>
                            <m:e>
                              <m:sSup>
                                <m:sSupPr>
                                  <m:ctrlPr>
                                    <a:rPr lang="en-US" altLang="zh-CN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𝛾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p>
                              </m:sSup>
                              <m:r>
                                <a:rPr lang="en-US" altLang="zh-CN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altLang="zh-CN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𝑝</m:t>
                              </m:r>
                              <m:r>
                                <a:rPr lang="en-US" altLang="zh-CN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zh-CN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altLang="zh-CN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zh-CN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  <m:r>
                                <a:rPr lang="en-US" altLang="zh-CN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e>
                      </m:d>
                    </m:oMath>
                  </m:oMathPara>
                </a14:m>
                <a:endParaRPr lang="en-US" altLang="zh-CN" sz="1800" dirty="0"/>
              </a:p>
              <a:p>
                <a:endParaRPr lang="en-US" altLang="zh-CN" sz="2000" dirty="0"/>
              </a:p>
              <a:p>
                <a:r>
                  <a:rPr lang="zh-CN" altLang="en-US" sz="2000" dirty="0"/>
                  <a:t>一个</a:t>
                </a:r>
                <a:r>
                  <a:rPr lang="zh-CN" altLang="en-US" sz="2000" dirty="0">
                    <a:solidFill>
                      <a:srgbClr val="00B0F0"/>
                    </a:solidFill>
                  </a:rPr>
                  <a:t>白盒</a:t>
                </a:r>
                <a:r>
                  <a:rPr lang="zh-CN" altLang="en-US" sz="2000" dirty="0"/>
                  <a:t>环境给定的情况下，可用动态规划的方法求解最优策略</a:t>
                </a:r>
                <a:endParaRPr lang="en-US" altLang="zh-CN" sz="2000" dirty="0"/>
              </a:p>
              <a:p>
                <a:pPr lvl="1"/>
                <a:r>
                  <a:rPr lang="zh-CN" altLang="en-US" sz="1800" dirty="0"/>
                  <a:t>值迭代和策略迭代</a:t>
                </a:r>
                <a:endParaRPr lang="en-US" altLang="zh-CN" sz="1800" dirty="0"/>
              </a:p>
              <a:p>
                <a:endParaRPr lang="en-US" altLang="zh-CN" sz="2000" dirty="0"/>
              </a:p>
              <a:p>
                <a:r>
                  <a:rPr lang="zh-CN" altLang="en-US" sz="2000" dirty="0"/>
                  <a:t>如果环境是</a:t>
                </a:r>
                <a:r>
                  <a:rPr lang="zh-CN" altLang="en-US" sz="2000" dirty="0">
                    <a:solidFill>
                      <a:srgbClr val="00B0F0"/>
                    </a:solidFill>
                  </a:rPr>
                  <a:t>黑盒</a:t>
                </a:r>
                <a:r>
                  <a:rPr lang="zh-CN" altLang="en-US" sz="2000" dirty="0"/>
                  <a:t>的，可以根据统计信息来拟合出动态环境</a:t>
                </a:r>
                <a14:m>
                  <m:oMath xmlns:m="http://schemas.openxmlformats.org/officeDocument/2006/math">
                    <m:r>
                      <a:rPr lang="en-US" altLang="zh-CN" sz="2000" i="1" dirty="0" smtClean="0">
                        <a:latin typeface="Cambria Math" panose="02040503050406030204" pitchFamily="18" charset="0"/>
                      </a:rPr>
                      <m:t>𝑃</m:t>
                    </m:r>
                  </m:oMath>
                </a14:m>
                <a:r>
                  <a:rPr lang="zh-CN" altLang="en-US" sz="2000" dirty="0"/>
                  <a:t>和</a:t>
                </a:r>
                <a14:m>
                  <m:oMath xmlns:m="http://schemas.openxmlformats.org/officeDocument/2006/math">
                    <m:r>
                      <a:rPr lang="en-US" altLang="zh-CN" sz="2000" i="1" dirty="0" smtClean="0">
                        <a:latin typeface="Cambria Math" panose="02040503050406030204" pitchFamily="18" charset="0"/>
                      </a:rPr>
                      <m:t>𝑅</m:t>
                    </m:r>
                  </m:oMath>
                </a14:m>
                <a:r>
                  <a:rPr lang="zh-CN" altLang="en-US" sz="2000" dirty="0"/>
                  <a:t>，然后做动态规划求解最优策略</a:t>
                </a:r>
              </a:p>
            </p:txBody>
          </p:sp>
        </mc:Choice>
        <mc:Fallback xmlns="">
          <p:sp>
            <p:nvSpPr>
              <p:cNvPr id="4" name="内容占位符 3">
                <a:extLst>
                  <a:ext uri="{FF2B5EF4-FFF2-40B4-BE49-F238E27FC236}">
                    <a16:creationId xmlns:a16="http://schemas.microsoft.com/office/drawing/2014/main" id="{83515A53-D28B-4149-8676-420D29BF58A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502444" y="1273629"/>
                <a:ext cx="8137922" cy="4863646"/>
              </a:xfrm>
              <a:blipFill>
                <a:blip r:embed="rId2"/>
                <a:stretch>
                  <a:fillRect l="-674" t="-137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3722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68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随机过程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7ABE3"/>
              </a:solidFill>
              <a:effectLst/>
              <a:uLnTx/>
              <a:uFillTx/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19302E9C-4641-499E-908B-5995ED47B116}"/>
              </a:ext>
            </a:extLst>
          </p:cNvPr>
          <p:cNvSpPr txBox="1">
            <a:spLocks/>
          </p:cNvSpPr>
          <p:nvPr/>
        </p:nvSpPr>
        <p:spPr>
          <a:xfrm>
            <a:off x="502443" y="1371600"/>
            <a:ext cx="8137922" cy="44699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Clr>
                <a:srgbClr val="29AAF5"/>
              </a:buClr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随机过程是一个或多个事件、随机系统或者随机现象随时间发生演变的过程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  <a:buClr>
                <a:srgbClr val="29AAF5"/>
              </a:buClr>
            </a:pPr>
            <a:endParaRPr lang="en-US" altLang="zh-CN" sz="1600" dirty="0">
              <a:solidFill>
                <a:srgbClr val="00000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  <a:buClr>
                <a:srgbClr val="29AAF5"/>
              </a:buClr>
            </a:pPr>
            <a:r>
              <a:rPr lang="zh-CN" altLang="en-US" sz="1600" dirty="0">
                <a:solidFill>
                  <a:srgbClr val="00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概率论研究</a:t>
            </a:r>
            <a:r>
              <a:rPr lang="zh-CN" altLang="en-US" sz="16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静态</a:t>
            </a:r>
            <a:r>
              <a:rPr lang="zh-CN" altLang="en-US" sz="1600" dirty="0">
                <a:solidFill>
                  <a:srgbClr val="00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随机现象的统计规律</a:t>
            </a:r>
            <a:endParaRPr lang="en-US" altLang="zh-CN" sz="1600" dirty="0">
              <a:solidFill>
                <a:srgbClr val="00000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  <a:buClr>
                <a:srgbClr val="29AAF5"/>
              </a:buClr>
            </a:pPr>
            <a:r>
              <a:rPr lang="zh-CN" altLang="en-US" sz="1600" dirty="0">
                <a:solidFill>
                  <a:srgbClr val="00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随机过程研究</a:t>
            </a:r>
            <a:r>
              <a:rPr lang="zh-CN" altLang="en-US" sz="16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动态</a:t>
            </a:r>
            <a:r>
              <a:rPr lang="zh-CN" altLang="en-US" sz="1600" dirty="0">
                <a:solidFill>
                  <a:srgbClr val="00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随机现象的统计规律</a:t>
            </a:r>
            <a:endParaRPr lang="en-US" altLang="zh-CN" sz="1600" dirty="0">
              <a:solidFill>
                <a:srgbClr val="00000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  <a:buClr>
                <a:srgbClr val="29AAF5"/>
              </a:buClr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054CF380-D06C-4D96-B3D9-D1CA497D6E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114" y="3414009"/>
            <a:ext cx="2639534" cy="2574091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B6EC1134-BC15-4F2E-9F78-42B0470BFA41}"/>
              </a:ext>
            </a:extLst>
          </p:cNvPr>
          <p:cNvSpPr txBox="1"/>
          <p:nvPr/>
        </p:nvSpPr>
        <p:spPr>
          <a:xfrm>
            <a:off x="1514007" y="621717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布朗运动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E74CB60C-A415-4349-BF5C-3FA89A4B9D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24474" y="3429000"/>
            <a:ext cx="3680288" cy="2645764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469B778D-6431-46C6-ABCC-C7F584D19DC0}"/>
              </a:ext>
            </a:extLst>
          </p:cNvPr>
          <p:cNvSpPr txBox="1"/>
          <p:nvPr/>
        </p:nvSpPr>
        <p:spPr>
          <a:xfrm>
            <a:off x="5711253" y="621717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天气变化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0F88120F-6D4E-41AF-8D66-4689B280ED25}"/>
                  </a:ext>
                </a:extLst>
              </p:cNvPr>
              <p:cNvSpPr txBox="1"/>
              <p:nvPr/>
            </p:nvSpPr>
            <p:spPr>
              <a:xfrm>
                <a:off x="1231180" y="1846262"/>
                <a:ext cx="668044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ℙ</m:t>
                      </m:r>
                      <m:r>
                        <a:rPr lang="en-US" altLang="zh-CN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[</m:t>
                      </m:r>
                      <m:sSub>
                        <m:sSubPr>
                          <m:ctrlPr>
                            <a:rPr lang="zh-CN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sub>
                      </m:sSub>
                      <m:r>
                        <a:rPr lang="en-US" altLang="zh-CN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|</m:t>
                      </m:r>
                      <m:sSub>
                        <m:sSubPr>
                          <m:ctrlPr>
                            <a:rPr lang="zh-CN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…,</m:t>
                      </m:r>
                      <m:sSub>
                        <m:sSubPr>
                          <m:ctrlPr>
                            <a:rPr lang="zh-CN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altLang="zh-CN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altLang="zh-CN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kumimoji="0" lang="zh-CN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微软雅黑"/>
                  <a:cs typeface="+mn-cs"/>
                </a:endParaRPr>
              </a:p>
            </p:txBody>
          </p:sp>
        </mc:Choice>
        <mc:Fallback xmlns="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0F88120F-6D4E-41AF-8D66-4689B280ED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80" y="1846262"/>
                <a:ext cx="6680447" cy="369332"/>
              </a:xfrm>
              <a:prstGeom prst="rect">
                <a:avLst/>
              </a:prstGeom>
              <a:blipFill>
                <a:blip r:embed="rId7"/>
                <a:stretch>
                  <a:fillRect b="-18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71828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随机过程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7ABE3"/>
              </a:solidFill>
              <a:effectLst/>
              <a:uLnTx/>
              <a:uFillTx/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B6EC1134-BC15-4F2E-9F78-42B0470BFA41}"/>
              </a:ext>
            </a:extLst>
          </p:cNvPr>
          <p:cNvSpPr txBox="1"/>
          <p:nvPr/>
        </p:nvSpPr>
        <p:spPr>
          <a:xfrm>
            <a:off x="2031101" y="3448543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dirty="0"/>
              <a:t>足球比赛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EFEAC82-7CD5-422B-8ECF-ABBD1A261D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016" y="1184224"/>
            <a:ext cx="3387743" cy="2225696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344BBF37-92AA-4C24-8541-A572D26804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2874" y="1178366"/>
            <a:ext cx="3466726" cy="2226065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5DF38AE5-D6DE-40BC-B619-E023E652EEB6}"/>
              </a:ext>
            </a:extLst>
          </p:cNvPr>
          <p:cNvSpPr txBox="1"/>
          <p:nvPr/>
        </p:nvSpPr>
        <p:spPr>
          <a:xfrm>
            <a:off x="6040970" y="3448543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dirty="0"/>
              <a:t>城市交通</a:t>
            </a: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0FE43CBB-7391-4194-9B60-26E68498A0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9488" y="3988852"/>
            <a:ext cx="3387777" cy="2315754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05A8B1B8-B041-4497-AB3D-F26CF171BA7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158" r="6928"/>
          <a:stretch/>
        </p:blipFill>
        <p:spPr>
          <a:xfrm>
            <a:off x="4762874" y="3995201"/>
            <a:ext cx="3466726" cy="2309405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9064C08E-C642-49E5-A310-5945BE3A01EF}"/>
              </a:ext>
            </a:extLst>
          </p:cNvPr>
          <p:cNvSpPr txBox="1"/>
          <p:nvPr/>
        </p:nvSpPr>
        <p:spPr>
          <a:xfrm>
            <a:off x="2031101" y="6292193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dirty="0"/>
              <a:t>生态系统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400726C0-3E8A-4C33-BDFC-03249C07A7A3}"/>
              </a:ext>
            </a:extLst>
          </p:cNvPr>
          <p:cNvSpPr txBox="1"/>
          <p:nvPr/>
        </p:nvSpPr>
        <p:spPr>
          <a:xfrm>
            <a:off x="6246153" y="6292193"/>
            <a:ext cx="5950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dirty="0"/>
              <a:t>星系</a:t>
            </a:r>
          </a:p>
        </p:txBody>
      </p:sp>
    </p:spTree>
    <p:extLst>
      <p:ext uri="{BB962C8B-B14F-4D97-AF65-F5344CB8AC3E}">
        <p14:creationId xmlns:p14="http://schemas.microsoft.com/office/powerpoint/2010/main" val="1666108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>
            <a:extLst>
              <a:ext uri="{FF2B5EF4-FFF2-40B4-BE49-F238E27FC236}">
                <a16:creationId xmlns:a16="http://schemas.microsoft.com/office/drawing/2014/main" id="{B642BEB7-3152-48B3-B95C-86D7DCCEFF2E}"/>
              </a:ext>
            </a:extLst>
          </p:cNvPr>
          <p:cNvSpPr/>
          <p:nvPr/>
        </p:nvSpPr>
        <p:spPr>
          <a:xfrm>
            <a:off x="6744533" y="2893102"/>
            <a:ext cx="1784871" cy="26082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马尔可夫过程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7ABE3"/>
              </a:solidFill>
              <a:effectLst/>
              <a:uLnTx/>
              <a:uFillTx/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2696067"/>
                <a:ext cx="8137922" cy="375077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marR="0" lvl="0" indent="-285750" algn="l" defTabSz="914400" rtl="0" eaLnBrk="1" fontAlgn="auto" latinLnBrk="0" hangingPunct="1">
                  <a:lnSpc>
                    <a:spcPct val="150000"/>
                  </a:lnSpc>
                  <a:spcBef>
                    <a:spcPts val="1000"/>
                  </a:spcBef>
                  <a:spcAft>
                    <a:spcPts val="0"/>
                  </a:spcAft>
                  <a:buClr>
                    <a:srgbClr val="29AAF5"/>
                  </a:buClr>
                  <a:buSzPct val="88000"/>
                  <a:buFont typeface="Wingdings" pitchFamily="2" charset="2"/>
                  <a:buChar char="p"/>
                  <a:tabLst/>
                  <a:defRPr/>
                </a:pPr>
                <a:r>
                  <a:rPr kumimoji="0" lang="zh-CN" alt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定义：</a:t>
                </a:r>
                <a:endPara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5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altLang="zh-CN" sz="18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kumimoji="0" lang="en-US" altLang="zh-CN" sz="18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S</m:t>
                        </m:r>
                      </m:e>
                      <m:sub>
                        <m:r>
                          <m:rPr>
                            <m:sty m:val="p"/>
                          </m:rPr>
                          <a:rPr kumimoji="0" lang="en-US" altLang="zh-CN" sz="1800" b="0" i="0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t</m:t>
                        </m:r>
                      </m:sub>
                    </m:sSub>
                    <m:r>
                      <a:rPr kumimoji="0" lang="zh-CN" altLang="en-US" sz="18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是</m:t>
                    </m:r>
                  </m:oMath>
                </a14:m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马尔可夫的，当且仅当</a:t>
                </a: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50000"/>
                  </a:lnSpc>
                  <a:spcBef>
                    <a:spcPts val="1000"/>
                  </a:spcBef>
                  <a:spcAft>
                    <a:spcPts val="0"/>
                  </a:spcAft>
                  <a:buClr>
                    <a:srgbClr val="29AAF5"/>
                  </a:buClr>
                  <a:buSzPct val="88000"/>
                  <a:buFont typeface="Wingdings" pitchFamily="2" charset="2"/>
                  <a:buNone/>
                  <a:tabLst/>
                  <a:defRPr/>
                </a:pPr>
                <a:endPara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285750" marR="0" lvl="0" indent="-285750" algn="l" defTabSz="914400" rtl="0" eaLnBrk="1" fontAlgn="auto" latinLnBrk="0" hangingPunct="1">
                  <a:lnSpc>
                    <a:spcPct val="150000"/>
                  </a:lnSpc>
                  <a:spcBef>
                    <a:spcPts val="1000"/>
                  </a:spcBef>
                  <a:spcAft>
                    <a:spcPts val="0"/>
                  </a:spcAft>
                  <a:buClr>
                    <a:srgbClr val="29AAF5"/>
                  </a:buClr>
                  <a:buSzPct val="88000"/>
                  <a:buFont typeface="Wingdings" pitchFamily="2" charset="2"/>
                  <a:buChar char="p"/>
                  <a:tabLst/>
                  <a:defRPr/>
                </a:pPr>
                <a:r>
                  <a:rPr kumimoji="0" lang="zh-CN" alt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性质：</a:t>
                </a:r>
                <a:endPara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5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从历史（</a:t>
                </a:r>
                <a:r>
                  <a:rPr kumimoji="0" lang="en-US" altLang="zh-CN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9AAF5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history</a:t>
                </a: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中捕获了所有相关信息</a:t>
                </a: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5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当状态已知的时候，可以抛开历史不管</a:t>
                </a: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5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也就是说，</a:t>
                </a: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9AAF5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当前状态是未来的充分统计量</a:t>
                </a: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9AAF5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2696067"/>
                <a:ext cx="8137922" cy="3750778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E3A5D8FE-A925-483D-B8BC-A1739DC3A352}"/>
                  </a:ext>
                </a:extLst>
              </p:cNvPr>
              <p:cNvSpPr txBox="1"/>
              <p:nvPr/>
            </p:nvSpPr>
            <p:spPr>
              <a:xfrm>
                <a:off x="1231180" y="3781068"/>
                <a:ext cx="6680447" cy="6771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altLang="zh-C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ℙ</m:t>
                      </m:r>
                      <m:r>
                        <a:rPr kumimoji="0" lang="en-US" altLang="zh-C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[</m:t>
                      </m:r>
                      <m:sSub>
                        <m:sSubPr>
                          <m:ctrlPr>
                            <a:rPr kumimoji="0" lang="zh-CN" altLang="zh-C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altLang="zh-C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𝑆</m:t>
                          </m:r>
                        </m:e>
                        <m:sub>
                          <m:r>
                            <a:rPr kumimoji="0" lang="en-US" altLang="zh-C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𝑡</m:t>
                          </m:r>
                          <m:r>
                            <a:rPr kumimoji="0" lang="en-US" altLang="zh-C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+1</m:t>
                          </m:r>
                        </m:sub>
                      </m:sSub>
                      <m:r>
                        <a:rPr kumimoji="0" lang="en-US" altLang="zh-C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|</m:t>
                      </m:r>
                      <m:sSub>
                        <m:sSubPr>
                          <m:ctrlPr>
                            <a:rPr kumimoji="0" lang="zh-CN" altLang="zh-C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altLang="zh-C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𝑆</m:t>
                          </m:r>
                        </m:e>
                        <m:sub>
                          <m:r>
                            <a:rPr kumimoji="0" lang="en-US" altLang="zh-C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𝑡</m:t>
                          </m:r>
                        </m:sub>
                      </m:sSub>
                      <m:r>
                        <a:rPr kumimoji="0" lang="en-US" altLang="zh-C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]=</m:t>
                      </m:r>
                      <m:r>
                        <a:rPr kumimoji="0" lang="en-US" altLang="zh-C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ℙ</m:t>
                      </m:r>
                      <m:r>
                        <a:rPr kumimoji="0" lang="en-US" altLang="zh-C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[</m:t>
                      </m:r>
                      <m:sSub>
                        <m:sSubPr>
                          <m:ctrlPr>
                            <a:rPr kumimoji="0" lang="zh-CN" altLang="zh-C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altLang="zh-C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𝑆</m:t>
                          </m:r>
                        </m:e>
                        <m:sub>
                          <m:r>
                            <a:rPr kumimoji="0" lang="en-US" altLang="zh-C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𝑡</m:t>
                          </m:r>
                          <m:r>
                            <a:rPr kumimoji="0" lang="en-US" altLang="zh-C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+1</m:t>
                          </m:r>
                        </m:sub>
                      </m:sSub>
                      <m:r>
                        <a:rPr kumimoji="0" lang="en-US" altLang="zh-C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|</m:t>
                      </m:r>
                      <m:sSub>
                        <m:sSubPr>
                          <m:ctrlPr>
                            <a:rPr kumimoji="0" lang="zh-CN" altLang="zh-C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altLang="zh-C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𝑆</m:t>
                          </m:r>
                        </m:e>
                        <m:sub>
                          <m:r>
                            <a:rPr kumimoji="0" lang="en-US" altLang="zh-C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1</m:t>
                          </m:r>
                        </m:sub>
                      </m:sSub>
                      <m:r>
                        <a:rPr kumimoji="0" lang="en-US" altLang="zh-C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,…,</m:t>
                      </m:r>
                      <m:sSub>
                        <m:sSubPr>
                          <m:ctrlPr>
                            <a:rPr kumimoji="0" lang="zh-CN" altLang="zh-C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sSubPr>
                        <m:e>
                          <m:r>
                            <a:rPr kumimoji="0" lang="en-US" altLang="zh-C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𝑆</m:t>
                          </m:r>
                        </m:e>
                        <m:sub>
                          <m:r>
                            <a:rPr kumimoji="0" lang="en-US" altLang="zh-CN" sz="20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+mn-cs"/>
                            </a:rPr>
                            <m:t>𝑡</m:t>
                          </m:r>
                        </m:sub>
                      </m:sSub>
                      <m:r>
                        <a:rPr kumimoji="0" lang="en-US" altLang="zh-CN" sz="20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]</m:t>
                      </m:r>
                    </m:oMath>
                  </m:oMathPara>
                </a14:m>
                <a:endParaRPr kumimoji="0" lang="zh-CN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微软雅黑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微软雅黑"/>
                  <a:cs typeface="+mn-cs"/>
                </a:endParaRPr>
              </a:p>
            </p:txBody>
          </p:sp>
        </mc:Choice>
        <mc:Fallback xmlns="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E3A5D8FE-A925-483D-B8BC-A1739DC3A3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80" y="3781068"/>
                <a:ext cx="6680447" cy="67710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矩形 6">
            <a:extLst>
              <a:ext uri="{FF2B5EF4-FFF2-40B4-BE49-F238E27FC236}">
                <a16:creationId xmlns:a16="http://schemas.microsoft.com/office/drawing/2014/main" id="{CC71E61A-2FE3-4262-9262-3CA1D0C28F91}"/>
              </a:ext>
            </a:extLst>
          </p:cNvPr>
          <p:cNvSpPr/>
          <p:nvPr/>
        </p:nvSpPr>
        <p:spPr>
          <a:xfrm>
            <a:off x="1282571" y="2218543"/>
            <a:ext cx="693625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阿里巴巴普惠体 R" panose="00020600040101010101" pitchFamily="18" charset="-122"/>
                <a:cs typeface="+mn-cs"/>
              </a:rPr>
              <a:t>“The future is independent of the past given the present”</a:t>
            </a:r>
          </a:p>
        </p:txBody>
      </p:sp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E101C9E2-C895-46DD-852D-E9314B9D8340}"/>
              </a:ext>
            </a:extLst>
          </p:cNvPr>
          <p:cNvSpPr txBox="1">
            <a:spLocks/>
          </p:cNvSpPr>
          <p:nvPr/>
        </p:nvSpPr>
        <p:spPr>
          <a:xfrm>
            <a:off x="502443" y="1553592"/>
            <a:ext cx="8137922" cy="6124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50000"/>
              </a:lnSpc>
              <a:buClr>
                <a:srgbClr val="29AAF5"/>
              </a:buClr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马尔可夫过程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Markov Process</a:t>
            </a:r>
            <a:r>
              <a:rPr lang="zh-CN" altLang="en-US" dirty="0">
                <a:solidFill>
                  <a:srgbClr val="00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是具有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马尔可夫性质</a:t>
            </a:r>
            <a:r>
              <a:rPr lang="zh-CN" altLang="en-US" dirty="0">
                <a:solidFill>
                  <a:srgbClr val="00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的随机过程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12" name="图片 11" descr="图片包含 游戏机, 标志, 画, 窗户&#10;&#10;描述已自动生成">
            <a:extLst>
              <a:ext uri="{FF2B5EF4-FFF2-40B4-BE49-F238E27FC236}">
                <a16:creationId xmlns:a16="http://schemas.microsoft.com/office/drawing/2014/main" id="{D9FAE98D-05CE-4745-97C6-90AE8BC7319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4533" y="3037714"/>
            <a:ext cx="1821305" cy="1821305"/>
          </a:xfrm>
          <a:prstGeom prst="rect">
            <a:avLst/>
          </a:prstGeom>
        </p:spPr>
      </p:pic>
      <p:sp>
        <p:nvSpPr>
          <p:cNvPr id="13" name="矩形 12">
            <a:extLst>
              <a:ext uri="{FF2B5EF4-FFF2-40B4-BE49-F238E27FC236}">
                <a16:creationId xmlns:a16="http://schemas.microsoft.com/office/drawing/2014/main" id="{9B214040-92E1-47BC-B5D0-5EBD73CDF01C}"/>
              </a:ext>
            </a:extLst>
          </p:cNvPr>
          <p:cNvSpPr/>
          <p:nvPr/>
        </p:nvSpPr>
        <p:spPr>
          <a:xfrm>
            <a:off x="6813655" y="4840378"/>
            <a:ext cx="161684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/>
              <a:t>一个具有两个转换状态的马尔可夫链</a:t>
            </a:r>
          </a:p>
        </p:txBody>
      </p:sp>
    </p:spTree>
    <p:extLst>
      <p:ext uri="{BB962C8B-B14F-4D97-AF65-F5344CB8AC3E}">
        <p14:creationId xmlns:p14="http://schemas.microsoft.com/office/powerpoint/2010/main" val="1204707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马尔可夫决策过程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7ABE3"/>
              </a:solidFill>
              <a:effectLst/>
              <a:uLnTx/>
              <a:uFillTx/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19302E9C-4641-499E-908B-5995ED47B116}"/>
              </a:ext>
            </a:extLst>
          </p:cNvPr>
          <p:cNvSpPr txBox="1">
            <a:spLocks/>
          </p:cNvSpPr>
          <p:nvPr/>
        </p:nvSpPr>
        <p:spPr>
          <a:xfrm>
            <a:off x="502443" y="1553592"/>
            <a:ext cx="8137922" cy="46148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29AAF5"/>
              </a:buClr>
              <a:buSzPct val="88000"/>
              <a:buFont typeface="Wingdings" pitchFamily="2" charset="2"/>
              <a:buChar char="p"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马尔可夫决策过程（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Markov Decision Process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，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MDP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29AAF5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提供了一套为在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AAF5"/>
                </a:solidFill>
                <a:effectLst/>
                <a:uLnTx/>
                <a:uFillTx/>
                <a:latin typeface="Microsoft YaHei" panose="020B0503020204020204" pitchFamily="34" charset="-122"/>
                <a:ea typeface="阿里巴巴普惠体 R" panose="00020600040101010101" pitchFamily="18" charset="-122"/>
                <a:cs typeface="+mn-cs"/>
              </a:rPr>
              <a:t>结果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AAF5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部分随机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、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AAF5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部分在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决策者的控制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AAF5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下的决策过程建模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的数学框架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29AAF5"/>
              </a:buClr>
              <a:buSzPct val="88000"/>
              <a:buFont typeface="Wingdings" pitchFamily="2" charset="2"/>
              <a:buChar char="p"/>
              <a:tabLst/>
              <a:defRPr/>
            </a:pP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29AAF5"/>
              </a:buClr>
              <a:buSzPct val="88000"/>
              <a:buFont typeface="Wingdings" pitchFamily="2" charset="2"/>
              <a:buChar char="p"/>
              <a:tabLst/>
              <a:defRPr/>
            </a:pP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29AAF5"/>
              </a:buClr>
              <a:buSzPct val="88000"/>
              <a:buFont typeface="Wingdings" pitchFamily="2" charset="2"/>
              <a:buChar char="p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MDP</a:t>
            </a: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形式化地描述了一种强化学习的环境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29AAF5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环境完全可观测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29AAF5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即，当前状态可以完全表征过程（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AAF5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马尔可夫性质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矩形 8">
                <a:extLst>
                  <a:ext uri="{FF2B5EF4-FFF2-40B4-BE49-F238E27FC236}">
                    <a16:creationId xmlns:a16="http://schemas.microsoft.com/office/drawing/2014/main" id="{9C5CAFF4-4CDB-4EEC-9DA9-7E2D6CCA699A}"/>
                  </a:ext>
                </a:extLst>
              </p:cNvPr>
              <p:cNvSpPr/>
              <p:nvPr/>
            </p:nvSpPr>
            <p:spPr>
              <a:xfrm>
                <a:off x="2834900" y="2989501"/>
                <a:ext cx="3513591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ℙ</m:t>
                      </m:r>
                      <m:r>
                        <a:rPr lang="en-US" altLang="zh-CN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[</m:t>
                      </m:r>
                      <m:sSub>
                        <m:sSubPr>
                          <m:ctrlPr>
                            <a:rPr lang="zh-CN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sub>
                      </m:sSub>
                      <m:r>
                        <a:rPr lang="en-US" altLang="zh-CN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|</m:t>
                      </m:r>
                      <m:sSub>
                        <m:sSubPr>
                          <m:ctrlPr>
                            <a:rPr lang="zh-CN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altLang="zh-CN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]=</m:t>
                      </m:r>
                      <m:r>
                        <a:rPr lang="en-US" altLang="zh-CN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ℙ</m:t>
                      </m:r>
                      <m:r>
                        <a:rPr lang="en-US" altLang="zh-CN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[</m:t>
                      </m:r>
                      <m:sSub>
                        <m:sSubPr>
                          <m:ctrlPr>
                            <a:rPr lang="zh-CN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sub>
                      </m:sSub>
                      <m:r>
                        <a:rPr lang="en-US" altLang="zh-CN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|</m:t>
                      </m:r>
                      <m:sSub>
                        <m:sSubPr>
                          <m:ctrlPr>
                            <a:rPr lang="zh-CN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…,</m:t>
                      </m:r>
                      <m:sSub>
                        <m:sSubPr>
                          <m:ctrlPr>
                            <a:rPr lang="zh-CN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altLang="zh-CN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9" name="矩形 8">
                <a:extLst>
                  <a:ext uri="{FF2B5EF4-FFF2-40B4-BE49-F238E27FC236}">
                    <a16:creationId xmlns:a16="http://schemas.microsoft.com/office/drawing/2014/main" id="{9C5CAFF4-4CDB-4EEC-9DA9-7E2D6CCA699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4900" y="2989501"/>
                <a:ext cx="3513591" cy="400110"/>
              </a:xfrm>
              <a:prstGeom prst="rect">
                <a:avLst/>
              </a:prstGeom>
              <a:blipFill>
                <a:blip r:embed="rId5"/>
                <a:stretch>
                  <a:fillRect b="-1818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矩形 9">
                <a:extLst>
                  <a:ext uri="{FF2B5EF4-FFF2-40B4-BE49-F238E27FC236}">
                    <a16:creationId xmlns:a16="http://schemas.microsoft.com/office/drawing/2014/main" id="{8C0AFE02-BA51-4077-9AE9-A82B5DFBB9C2}"/>
                  </a:ext>
                </a:extLst>
              </p:cNvPr>
              <p:cNvSpPr/>
              <p:nvPr/>
            </p:nvSpPr>
            <p:spPr>
              <a:xfrm>
                <a:off x="2834900" y="3514393"/>
                <a:ext cx="1749261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ℙ</m:t>
                      </m:r>
                      <m:r>
                        <a:rPr lang="en-US" altLang="zh-CN" sz="200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[</m:t>
                      </m:r>
                      <m:sSub>
                        <m:sSubPr>
                          <m:ctrlPr>
                            <a:rPr lang="zh-CN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</m:t>
                          </m:r>
                        </m:sub>
                      </m:sSub>
                      <m:r>
                        <a:rPr lang="en-US" altLang="zh-CN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|</m:t>
                      </m:r>
                      <m:sSub>
                        <m:sSubPr>
                          <m:ctrlPr>
                            <a:rPr lang="zh-CN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altLang="zh-CN" sz="20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en-US" altLang="zh-CN" sz="2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𝐴</m:t>
                      </m:r>
                      <m:r>
                        <a:rPr lang="en-US" altLang="zh-CN" sz="2000" b="0" i="1" baseline="-2500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en-US" altLang="zh-CN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10" name="矩形 9">
                <a:extLst>
                  <a:ext uri="{FF2B5EF4-FFF2-40B4-BE49-F238E27FC236}">
                    <a16:creationId xmlns:a16="http://schemas.microsoft.com/office/drawing/2014/main" id="{8C0AFE02-BA51-4077-9AE9-A82B5DFBB9C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4900" y="3514393"/>
                <a:ext cx="1749261" cy="400110"/>
              </a:xfrm>
              <a:prstGeom prst="rect">
                <a:avLst/>
              </a:prstGeom>
              <a:blipFill>
                <a:blip r:embed="rId6"/>
                <a:stretch>
                  <a:fillRect b="-1846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90448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MDP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五元组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7ABE3"/>
              </a:solidFill>
              <a:effectLst/>
              <a:uLnTx/>
              <a:uFillTx/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18997" y="1351480"/>
                <a:ext cx="8137922" cy="499217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marR="0" lvl="0" indent="-285750" algn="l" defTabSz="914400" rtl="0" eaLnBrk="1" fontAlgn="auto" latinLnBrk="0" hangingPunct="1">
                  <a:lnSpc>
                    <a:spcPct val="150000"/>
                  </a:lnSpc>
                  <a:spcBef>
                    <a:spcPts val="1000"/>
                  </a:spcBef>
                  <a:spcAft>
                    <a:spcPts val="0"/>
                  </a:spcAft>
                  <a:buClr>
                    <a:srgbClr val="29AAF5"/>
                  </a:buClr>
                  <a:buSzPct val="88000"/>
                  <a:buFont typeface="Wingdings" pitchFamily="2" charset="2"/>
                  <a:buChar char="p"/>
                  <a:tabLst/>
                  <a:defRPr/>
                </a:pPr>
                <a:r>
                  <a:rPr kumimoji="0" lang="en-US" altLang="zh-CN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DP</a:t>
                </a:r>
                <a:r>
                  <a:rPr kumimoji="0" lang="zh-CN" alt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可以由一个五元组表示 </a:t>
                </a:r>
                <a14:m>
                  <m:oMath xmlns:m="http://schemas.openxmlformats.org/officeDocument/2006/math">
                    <m:r>
                      <a:rPr lang="en-US" altLang="zh-CN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m:rPr>
                        <m:sty m:val="p"/>
                      </m:rPr>
                      <a:rPr kumimoji="0" lang="en-US" altLang="zh-C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S</m:t>
                    </m:r>
                    <m:r>
                      <a:rPr kumimoji="0" lang="en-US" altLang="zh-C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 </m:t>
                    </m:r>
                    <m:r>
                      <a:rPr kumimoji="0" lang="en-US" altLang="zh-C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  <m:r>
                      <a:rPr kumimoji="0" lang="en-US" altLang="zh-C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d>
                      <m:dPr>
                        <m:begChr m:val="{"/>
                        <m:endChr m:val="}"/>
                        <m:ctrlPr>
                          <a:rPr kumimoji="0" lang="en-US" altLang="zh-CN" sz="20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0" lang="en-US" altLang="zh-CN" sz="20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kumimoji="0" lang="en-US" altLang="zh-CN" sz="20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𝑃</m:t>
                            </m:r>
                          </m:e>
                          <m:sub>
                            <m:r>
                              <a:rPr kumimoji="0" lang="en-US" altLang="zh-CN" sz="20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𝑎</m:t>
                            </m:r>
                          </m:sub>
                        </m:sSub>
                      </m:e>
                    </m:d>
                    <m:r>
                      <a:rPr kumimoji="0" lang="en-US" altLang="zh-C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kumimoji="0" lang="en-US" altLang="zh-C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r>
                      <a:rPr kumimoji="0" lang="en-US" altLang="zh-C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kumimoji="0" lang="en-US" altLang="zh-C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  <m:r>
                      <a:rPr kumimoji="0" lang="en-US" altLang="zh-CN" sz="20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5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en-US" altLang="zh-CN" sz="18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29AAF5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kumimoji="0" lang="zh-CN" altLang="en-US" sz="18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9AAF5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是</m:t>
                    </m:r>
                  </m:oMath>
                </a14:m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9AAF5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的集合</a:t>
                </a: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9AAF5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143000" marR="0" lvl="2" indent="-228600" algn="l" defTabSz="914400" rtl="0" eaLnBrk="1" fontAlgn="auto" latinLnBrk="0" hangingPunct="1">
                  <a:lnSpc>
                    <a:spcPct val="15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zh-CN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比如，迷宫中的位置，</a:t>
                </a:r>
                <a:r>
                  <a:rPr kumimoji="0" lang="en-US" altLang="zh-CN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Atari</a:t>
                </a:r>
                <a:r>
                  <a:rPr kumimoji="0" lang="zh-CN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游戏中的当前屏幕显示</a:t>
                </a:r>
                <a:endPara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5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en-US" altLang="zh-CN" sz="18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9AAF5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</m:oMath>
                </a14:m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9AAF5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动作的集合</a:t>
                </a: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9AAF5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143000" marR="0" lvl="2" indent="-228600" algn="l" defTabSz="914400" rtl="0" eaLnBrk="1" fontAlgn="auto" latinLnBrk="0" hangingPunct="1">
                  <a:lnSpc>
                    <a:spcPct val="15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zh-CN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比如，向</a:t>
                </a:r>
                <a:r>
                  <a:rPr kumimoji="0" lang="en-US" altLang="zh-CN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N</a:t>
                </a:r>
                <a:r>
                  <a:rPr kumimoji="0" lang="zh-CN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、</a:t>
                </a:r>
                <a:r>
                  <a:rPr kumimoji="0" lang="en-US" altLang="zh-CN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E</a:t>
                </a:r>
                <a:r>
                  <a:rPr kumimoji="0" lang="zh-CN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、</a:t>
                </a:r>
                <a:r>
                  <a:rPr kumimoji="0" lang="en-US" altLang="zh-CN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S</a:t>
                </a:r>
                <a:r>
                  <a:rPr kumimoji="0" lang="zh-CN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、</a:t>
                </a:r>
                <a:r>
                  <a:rPr kumimoji="0" lang="en-US" altLang="zh-CN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W</a:t>
                </a:r>
                <a:r>
                  <a:rPr kumimoji="0" lang="zh-CN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移动，手柄操纵杆方向和按钮</a:t>
                </a:r>
                <a:endPara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5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altLang="zh-CN" sz="18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29AAF5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kumimoji="0" lang="en-US" altLang="zh-CN" sz="18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29AAF5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𝑃</m:t>
                        </m:r>
                      </m:e>
                      <m:sub>
                        <m:r>
                          <a:rPr kumimoji="0" lang="en-US" altLang="zh-CN" sz="18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29AAF5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𝑎</m:t>
                        </m:r>
                      </m:sub>
                    </m:sSub>
                    <m:r>
                      <a:rPr kumimoji="0" lang="zh-CN" altLang="en-US" sz="18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9AAF5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是</m:t>
                    </m:r>
                  </m:oMath>
                </a14:m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9AAF5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转移概率</a:t>
                </a: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9AAF5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143000" marR="0" lvl="2" indent="-228600" algn="l" defTabSz="914400" rtl="0" eaLnBrk="1" fontAlgn="auto" latinLnBrk="0" hangingPunct="1">
                  <a:lnSpc>
                    <a:spcPct val="15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zh-CN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每个状态</a:t>
                </a:r>
                <a14:m>
                  <m:oMath xmlns:m="http://schemas.openxmlformats.org/officeDocument/2006/math">
                    <m:r>
                      <a:rPr kumimoji="0" lang="en-US" altLang="zh-CN" sz="16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kumimoji="0" lang="en-US" altLang="zh-CN" sz="16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∈</m:t>
                    </m:r>
                    <m:r>
                      <a:rPr kumimoji="0" lang="en-US" altLang="zh-CN" sz="16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</m:oMath>
                </a14:m>
                <a:r>
                  <a:rPr kumimoji="0" lang="zh-CN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和动作</a:t>
                </a:r>
                <a14:m>
                  <m:oMath xmlns:m="http://schemas.openxmlformats.org/officeDocument/2006/math">
                    <m:r>
                      <a:rPr kumimoji="0" lang="en-US" altLang="zh-CN" sz="16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kumimoji="0" lang="en-US" altLang="zh-CN" sz="16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∈</m:t>
                    </m:r>
                    <m:r>
                      <a:rPr kumimoji="0" lang="en-US" altLang="zh-CN" sz="16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</m:oMath>
                </a14:m>
                <a:r>
                  <a:rPr kumimoji="0" lang="zh-CN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altLang="zh-CN" sz="16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kumimoji="0" lang="en-US" altLang="zh-CN" sz="16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P</m:t>
                        </m:r>
                      </m:e>
                      <m:sub>
                        <m:r>
                          <a:rPr kumimoji="0" lang="en-US" altLang="zh-CN" sz="16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𝑎</m:t>
                        </m:r>
                      </m:sub>
                    </m:sSub>
                  </m:oMath>
                </a14:m>
                <a:r>
                  <a:rPr kumimoji="0" lang="zh-CN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下一个状态在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kumimoji="0" lang="en-US" altLang="zh-CN" sz="16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S</m:t>
                    </m:r>
                  </m:oMath>
                </a14:m>
                <a:r>
                  <a:rPr kumimoji="0" lang="zh-CN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中的概率分布</a:t>
                </a:r>
                <a:endPara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5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en-US" altLang="zh-CN" sz="18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29AAF5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r>
                      <a:rPr kumimoji="0" lang="en-US" altLang="zh-CN" sz="18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29AAF5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∈[0,1]</m:t>
                    </m:r>
                    <m:r>
                      <a:rPr kumimoji="0" lang="zh-CN" altLang="en-US" sz="18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9AAF5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是</m:t>
                    </m:r>
                  </m:oMath>
                </a14:m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9AAF5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未来奖励的折扣因子</a:t>
                </a: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9AAF5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5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en-US" altLang="zh-CN" sz="18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9AAF5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  <m:r>
                      <a:rPr kumimoji="0" lang="en-US" altLang="zh-CN" sz="18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9AAF5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:</m:t>
                    </m:r>
                    <m:r>
                      <a:rPr kumimoji="0" lang="en-US" altLang="zh-CN" sz="18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9AAF5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𝑆</m:t>
                    </m:r>
                    <m:r>
                      <a:rPr kumimoji="0" lang="en-US" altLang="zh-CN" sz="18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9AAF5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×</m:t>
                    </m:r>
                    <m:r>
                      <a:rPr kumimoji="0" lang="en-US" altLang="zh-CN" sz="18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9AAF5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  <m:r>
                      <a:rPr kumimoji="0" lang="en-US" altLang="zh-CN" sz="18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9AAF5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⟼</m:t>
                    </m:r>
                    <m:r>
                      <a:rPr kumimoji="0" lang="en-US" altLang="zh-CN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9AAF5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cs typeface="+mn-cs"/>
                      </a:rPr>
                      <m:t>ℝ</m:t>
                    </m:r>
                  </m:oMath>
                </a14:m>
                <a:r>
                  <a:rPr kumimoji="0" lang="en-US" altLang="zh-CN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9AAF5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9AAF5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奖励函数</a:t>
                </a: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9AAF5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1143000" marR="0" lvl="2" indent="-228600" algn="l" defTabSz="914400" rtl="0" eaLnBrk="1" fontAlgn="auto" latinLnBrk="0" hangingPunct="1">
                  <a:lnSpc>
                    <a:spcPct val="15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zh-CN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有时奖励只和状态相关</a:t>
                </a: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997" y="1351480"/>
                <a:ext cx="8137922" cy="4992174"/>
              </a:xfrm>
              <a:prstGeom prst="rect">
                <a:avLst/>
              </a:prstGeom>
              <a:blipFill>
                <a:blip r:embed="rId5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1642978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MDP</a:t>
            </a:r>
            <a:r>
              <a:rPr lang="zh-CN" altLang="en-US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的动态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7ABE3"/>
              </a:solidFill>
              <a:effectLst/>
              <a:uLnTx/>
              <a:uFillTx/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EB4CECD-8BE4-4A88-84A9-D3EA5837F7E3}"/>
              </a:ext>
            </a:extLst>
          </p:cNvPr>
          <p:cNvSpPr/>
          <p:nvPr/>
        </p:nvSpPr>
        <p:spPr>
          <a:xfrm>
            <a:off x="904009" y="1631373"/>
            <a:ext cx="4260273" cy="1433945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1282390"/>
                <a:ext cx="8137922" cy="455911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>
                    <a:srgbClr val="29AAF5"/>
                  </a:buClr>
                  <a:buSzPct val="88000"/>
                  <a:buFont typeface="Wingdings" pitchFamily="2" charset="2"/>
                  <a:buChar char="p"/>
                  <a:tabLst/>
                  <a:defRPr/>
                </a:pPr>
                <a:r>
                  <a:rPr kumimoji="0" lang="en-US" altLang="zh-CN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DP</a:t>
                </a:r>
                <a:r>
                  <a:rPr kumimoji="0" lang="zh-CN" alt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动态如下所示：</a:t>
                </a:r>
                <a:endParaRPr kumimoji="0" lang="en-US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从状态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altLang="zh-CN" sz="18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kumimoji="0" lang="en-US" altLang="zh-CN" sz="18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kumimoji="0" lang="en-US" altLang="zh-CN" sz="1800" b="0" i="0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0</m:t>
                        </m:r>
                      </m:sub>
                    </m:sSub>
                  </m:oMath>
                </a14:m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开始</a:t>
                </a: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智能体选择某个动作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altLang="zh-CN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kumimoji="0" lang="en-US" altLang="zh-CN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kumimoji="0" lang="en-US" altLang="zh-CN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0</m:t>
                        </m:r>
                      </m:sub>
                    </m:sSub>
                    <m:r>
                      <a:rPr kumimoji="0" lang="en-US" altLang="zh-CN" sz="18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∈</m:t>
                    </m:r>
                    <m:r>
                      <a:rPr kumimoji="0" lang="en-US" altLang="zh-CN" sz="18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</m:oMath>
                </a14:m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智能体得到奖励</a:t>
                </a:r>
                <a14:m>
                  <m:oMath xmlns:m="http://schemas.openxmlformats.org/officeDocument/2006/math">
                    <m:r>
                      <a:rPr kumimoji="0" lang="en-US" altLang="zh-CN" sz="18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  <m:d>
                      <m:dPr>
                        <m:ctrlPr>
                          <a:rPr kumimoji="0" lang="en-US" altLang="zh-CN" sz="18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0" lang="en-US" altLang="zh-CN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kumimoji="0" lang="en-US" altLang="zh-CN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en-US" altLang="zh-CN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0</m:t>
                            </m:r>
                          </m:sub>
                        </m:sSub>
                        <m:r>
                          <a:rPr kumimoji="0" lang="en-US" altLang="zh-CN" sz="18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kumimoji="0" lang="en-US" altLang="zh-CN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kumimoji="0" lang="en-US" altLang="zh-CN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kumimoji="0" lang="en-US" altLang="zh-CN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0</m:t>
                            </m:r>
                          </m:sub>
                        </m:sSub>
                      </m:e>
                    </m:d>
                  </m:oMath>
                </a14:m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altLang="zh-CN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DP</a:t>
                </a: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随机转移到下一个状态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altLang="zh-CN" sz="18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kumimoji="0" lang="en-US" altLang="zh-CN" sz="18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kumimoji="0" lang="en-US" altLang="zh-CN" sz="18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  <m:r>
                      <a:rPr kumimoji="0" lang="en-US" altLang="zh-CN" sz="18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阿里巴巴普惠体 R" panose="00020600040101010101" pitchFamily="18" charset="-122"/>
                      </a:rPr>
                      <m:t>~</m:t>
                    </m:r>
                    <m:sSub>
                      <m:sSubPr>
                        <m:ctrlPr>
                          <a:rPr kumimoji="0" lang="en-US" altLang="zh-CN" sz="18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kumimoji="0" lang="en-US" altLang="zh-CN" sz="18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阿里巴巴普惠体 R" panose="00020600040101010101" pitchFamily="18" charset="-122"/>
                          </a:rPr>
                          <m:t>𝑃</m:t>
                        </m:r>
                      </m:e>
                      <m:sub>
                        <m:sSub>
                          <m:sSubPr>
                            <m:ctrlPr>
                              <a:rPr kumimoji="0" lang="en-US" altLang="zh-CN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kumimoji="0" lang="en-US" altLang="zh-CN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en-US" altLang="zh-CN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  <m:t>0</m:t>
                            </m:r>
                          </m:sub>
                        </m:sSub>
                        <m:sSub>
                          <m:sSubPr>
                            <m:ctrlPr>
                              <a:rPr kumimoji="0" lang="en-US" altLang="zh-CN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kumimoji="0" lang="en-US" altLang="zh-CN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kumimoji="0" lang="en-US" altLang="zh-CN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阿里巴巴普惠体 R" panose="00020600040101010101" pitchFamily="18" charset="-122"/>
                              </a:rPr>
                              <m:t>0</m:t>
                            </m:r>
                          </m:sub>
                        </m:sSub>
                      </m:sub>
                    </m:sSub>
                  </m:oMath>
                </a14:m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Cambria Math" panose="02040503050406030204" pitchFamily="18" charset="0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5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这个过程不断进行</a:t>
                </a: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直到</a:t>
                </a: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9AAF5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终止状态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altLang="zh-CN" sz="18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29AAF5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kumimoji="0" lang="en-US" altLang="zh-CN" sz="1800" b="0" i="1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29AAF5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s</m:t>
                        </m:r>
                      </m:e>
                      <m:sub>
                        <m:r>
                          <a:rPr kumimoji="0" lang="en-US" altLang="zh-CN" sz="18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srgbClr val="29AAF5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𝑇</m:t>
                        </m:r>
                      </m:sub>
                    </m:sSub>
                    <m:r>
                      <a:rPr kumimoji="0" lang="zh-CN" altLang="en-US" sz="18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9AAF5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出现</m:t>
                    </m:r>
                  </m:oMath>
                </a14:m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9AAF5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止</a:t>
                </a: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或者</a:t>
                </a: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9AAF5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无止尽地进行下去</a:t>
                </a: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9AAF5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智能体的总回报为</a:t>
                </a: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Wingdings" panose="05000000000000000000" pitchFamily="2" charset="2"/>
                  <a:buChar char="p"/>
                  <a:tabLst/>
                  <a:defRPr/>
                </a:pPr>
                <a:endPara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Wingdings" panose="05000000000000000000" pitchFamily="2" charset="2"/>
                  <a:buChar char="p"/>
                  <a:tabLst/>
                  <a:defRPr/>
                </a:pP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Wingdings" panose="05000000000000000000" pitchFamily="2" charset="2"/>
                  <a:buChar char="p"/>
                  <a:tabLst/>
                  <a:defRPr/>
                </a:pP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685800" marR="0" lvl="1" indent="-228600" algn="l" defTabSz="914400" rtl="0" eaLnBrk="1" fontAlgn="auto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0"/>
                  </a:spcAft>
                  <a:buClr>
                    <a:srgbClr val="29AAF5"/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19302E9C-4641-499E-908B-5995ED47B1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282390"/>
                <a:ext cx="8137922" cy="4559117"/>
              </a:xfrm>
              <a:prstGeom prst="rect">
                <a:avLst/>
              </a:prstGeom>
              <a:blipFill>
                <a:blip r:embed="rId5"/>
                <a:stretch>
                  <a:fillRect l="-449" t="-66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C1F984D2-21E0-433F-9126-14381FE084D5}"/>
                  </a:ext>
                </a:extLst>
              </p:cNvPr>
              <p:cNvSpPr txBox="1"/>
              <p:nvPr/>
            </p:nvSpPr>
            <p:spPr>
              <a:xfrm>
                <a:off x="1231179" y="3648671"/>
                <a:ext cx="6680447" cy="536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𝑠</m:t>
                        </m:r>
                      </m:e>
                      <m:sub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0    </m:t>
                        </m:r>
                      </m:sub>
                    </m:sSub>
                    <m:groupChr>
                      <m:groupChrPr>
                        <m:chr m:val="→"/>
                        <m:vertJc m:val="bot"/>
                        <m:ctrlP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</m:ctrlPr>
                      </m:groupChrPr>
                      <m:e>
                        <m:r>
                          <m:rPr>
                            <m:brk m:alnAt="2"/>
                          </m:rP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 </m:t>
                        </m:r>
                        <m:sSub>
                          <m:sSubPr>
                            <m:ctrlP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m:rPr>
                                <m:brk m:alnAt="2"/>
                              </m:rP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𝑎</m:t>
                            </m:r>
                          </m:e>
                          <m:sub>
                            <m:r>
                              <m:rPr>
                                <m:brk m:alnAt="2"/>
                              </m:rP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0</m:t>
                            </m:r>
                          </m:sub>
                        </m:sSub>
                        <m:r>
                          <m:rPr>
                            <m:brk m:alnAt="2"/>
                          </m:rP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,</m:t>
                        </m:r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 </m:t>
                        </m:r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𝑅</m:t>
                        </m:r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(</m:t>
                        </m:r>
                        <m:sSub>
                          <m:sSubPr>
                            <m:ctrlP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m:rPr>
                                <m:brk m:alnAt="2"/>
                              </m:rP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𝑠</m:t>
                            </m:r>
                          </m:e>
                          <m:sub>
                            <m:r>
                              <m:rPr>
                                <m:brk m:alnAt="2"/>
                              </m:rP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0</m:t>
                            </m:r>
                          </m:sub>
                        </m:sSub>
                        <m:r>
                          <m:rPr>
                            <m:brk m:alnAt="2"/>
                          </m:rP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,</m:t>
                        </m:r>
                        <m:sSub>
                          <m:sSubPr>
                            <m:ctrlP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m:rPr>
                                <m:brk m:alnAt="2"/>
                              </m:rP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𝑎</m:t>
                            </m:r>
                          </m:e>
                          <m:sub>
                            <m:r>
                              <m:rPr>
                                <m:brk m:alnAt="2"/>
                              </m:rP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0</m:t>
                            </m:r>
                          </m:sub>
                        </m:sSub>
                        <m:r>
                          <m:rPr>
                            <m:brk m:alnAt="2"/>
                          </m:rP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)</m:t>
                        </m:r>
                      </m:e>
                    </m:groupChr>
                    <m:sSub>
                      <m:sSubPr>
                        <m:ctrlP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    </m:t>
                        </m:r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𝑠</m:t>
                        </m:r>
                      </m:e>
                      <m:sub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1    </m:t>
                        </m:r>
                      </m:sub>
                    </m:sSub>
                    <m:r>
                      <a:rPr kumimoji="0" lang="en-US" altLang="zh-CN" sz="20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 </m:t>
                    </m:r>
                    <m:groupChr>
                      <m:groupChrPr>
                        <m:chr m:val="→"/>
                        <m:vertJc m:val="bot"/>
                        <m:ctrlP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</m:ctrlPr>
                      </m:groupChrPr>
                      <m:e>
                        <m:r>
                          <m:rPr>
                            <m:brk m:alnAt="2"/>
                          </m:rP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 </m:t>
                        </m:r>
                        <m:sSub>
                          <m:sSubPr>
                            <m:ctrlPr>
                              <a:rPr kumimoji="0" lang="en-US" altLang="zh-CN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m:rPr>
                                <m:brk m:alnAt="2"/>
                              </m:rPr>
                              <a:rPr kumimoji="0" lang="en-US" altLang="zh-CN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𝑎</m:t>
                            </m:r>
                          </m:e>
                          <m:sub>
                            <m: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1</m:t>
                            </m:r>
                          </m:sub>
                        </m:sSub>
                        <m:r>
                          <m:rPr>
                            <m:brk m:alnAt="2"/>
                          </m:rP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,</m:t>
                        </m:r>
                        <m: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 </m:t>
                        </m:r>
                        <m: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𝑅</m:t>
                        </m:r>
                        <m: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(</m:t>
                        </m:r>
                        <m:sSub>
                          <m:sSubPr>
                            <m:ctrlPr>
                              <a:rPr kumimoji="0" lang="en-US" altLang="zh-CN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m:rPr>
                                <m:brk m:alnAt="2"/>
                              </m:rPr>
                              <a:rPr kumimoji="0" lang="en-US" altLang="zh-CN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1</m:t>
                            </m:r>
                          </m:sub>
                        </m:sSub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,</m:t>
                        </m:r>
                        <m:sSub>
                          <m:sSubPr>
                            <m:ctrlP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𝑎</m:t>
                            </m:r>
                          </m:e>
                          <m:sub>
                            <m: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1</m:t>
                            </m:r>
                          </m:sub>
                        </m:sSub>
                        <m:r>
                          <m:rPr>
                            <m:brk m:alnAt="2"/>
                          </m:rP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)</m:t>
                        </m:r>
                      </m:e>
                    </m:groupChr>
                  </m:oMath>
                </a14:m>
                <a:r>
                  <a:rPr kumimoji="0" lang="en-US" altLang="zh-CN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Cambria Math" panose="02040503050406030204" pitchFamily="18" charset="0"/>
                    <a:cs typeface="+mn-cs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    </m:t>
                        </m:r>
                        <m: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𝑠</m:t>
                        </m:r>
                      </m:e>
                      <m:sub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2     </m:t>
                        </m:r>
                      </m:sub>
                    </m:sSub>
                    <m:groupChr>
                      <m:groupChrPr>
                        <m:chr m:val="→"/>
                        <m:vertJc m:val="bot"/>
                        <m:ctrlP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</m:ctrlPr>
                      </m:groupChrPr>
                      <m:e>
                        <m:r>
                          <m:rPr>
                            <m:brk m:alnAt="2"/>
                          </m:rP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 </m:t>
                        </m:r>
                        <m:sSub>
                          <m:sSubPr>
                            <m:ctrlPr>
                              <a:rPr kumimoji="0" lang="en-US" altLang="zh-CN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m:rPr>
                                <m:brk m:alnAt="2"/>
                              </m:rPr>
                              <a:rPr kumimoji="0" lang="en-US" altLang="zh-CN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𝑎</m:t>
                            </m:r>
                          </m:e>
                          <m:sub>
                            <m: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2</m:t>
                            </m:r>
                          </m:sub>
                        </m:sSub>
                        <m:r>
                          <m:rPr>
                            <m:brk m:alnAt="2"/>
                          </m:rP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,</m:t>
                        </m:r>
                        <m: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 </m:t>
                        </m:r>
                        <m: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𝑅</m:t>
                        </m:r>
                        <m: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(</m:t>
                        </m:r>
                        <m:sSub>
                          <m:sSubPr>
                            <m:ctrlPr>
                              <a:rPr kumimoji="0" lang="en-US" altLang="zh-CN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m:rPr>
                                <m:brk m:alnAt="2"/>
                              </m:rPr>
                              <a:rPr kumimoji="0" lang="en-US" altLang="zh-CN" sz="2000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𝑠</m:t>
                            </m:r>
                          </m:e>
                          <m:sub>
                            <m: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2</m:t>
                            </m:r>
                          </m:sub>
                        </m:sSub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,</m:t>
                        </m:r>
                        <m:sSub>
                          <m:sSubPr>
                            <m:ctrlP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</m:ctrlPr>
                          </m:sSubPr>
                          <m:e>
                            <m: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𝑎</m:t>
                            </m:r>
                          </m:e>
                          <m:sub>
                            <m:r>
                              <a:rPr kumimoji="0" lang="en-US" altLang="zh-CN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+mn-cs"/>
                              </a:rPr>
                              <m:t>2</m:t>
                            </m:r>
                          </m:sub>
                        </m:sSub>
                        <m:r>
                          <m:rPr>
                            <m:brk m:alnAt="2"/>
                          </m:rPr>
                          <a:rPr kumimoji="0" lang="en-US" altLang="zh-CN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)</m:t>
                        </m:r>
                      </m:e>
                    </m:groupChr>
                    <m:sSub>
                      <m:sSubPr>
                        <m:ctrlP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</m:ctrlPr>
                      </m:sSubPr>
                      <m:e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    </m:t>
                        </m:r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𝑠</m:t>
                        </m:r>
                      </m:e>
                      <m:sub>
                        <m:r>
                          <a:rPr kumimoji="0" lang="en-US" altLang="zh-CN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+mn-cs"/>
                          </a:rPr>
                          <m:t>3</m:t>
                        </m:r>
                      </m:sub>
                    </m:sSub>
                    <m:r>
                      <a:rPr kumimoji="0" lang="en-US" altLang="zh-CN" sz="20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    ⋅⋅⋅</m:t>
                    </m:r>
                  </m:oMath>
                </a14:m>
                <a:endParaRPr kumimoji="0" lang="zh-CN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微软雅黑"/>
                  <a:cs typeface="+mn-cs"/>
                </a:endParaRPr>
              </a:p>
            </p:txBody>
          </p:sp>
        </mc:Choice>
        <mc:Fallback xmlns=""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C1F984D2-21E0-433F-9126-14381FE084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79" y="3648671"/>
                <a:ext cx="6680447" cy="53649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F44968CB-E544-40D8-B076-D2B166DB4519}"/>
                  </a:ext>
                </a:extLst>
              </p:cNvPr>
              <p:cNvSpPr txBox="1"/>
              <p:nvPr/>
            </p:nvSpPr>
            <p:spPr>
              <a:xfrm>
                <a:off x="1231179" y="5175500"/>
                <a:ext cx="668044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𝑅</m:t>
                      </m:r>
                      <m:d>
                        <m:dPr>
                          <m:ctrlP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𝑠</m:t>
                              </m:r>
                            </m:e>
                            <m:sub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0</m:t>
                              </m:r>
                            </m:sub>
                          </m:sSub>
                          <m: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,</m:t>
                          </m:r>
                          <m:sSub>
                            <m:sSubPr>
                              <m:ctrlP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𝑎</m:t>
                              </m:r>
                            </m:e>
                            <m:sub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0</m:t>
                              </m:r>
                            </m:sub>
                          </m:sSub>
                        </m:e>
                      </m:d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+</m:t>
                      </m:r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𝛾</m:t>
                      </m:r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𝑅</m:t>
                      </m:r>
                      <m:d>
                        <m:dPr>
                          <m:ctrlP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𝑠</m:t>
                              </m:r>
                            </m:e>
                            <m:sub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1</m:t>
                              </m:r>
                            </m:sub>
                          </m:sSub>
                          <m: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,</m:t>
                          </m:r>
                          <m:sSub>
                            <m:sSubPr>
                              <m:ctrlP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𝑎</m:t>
                              </m:r>
                            </m:e>
                            <m:sub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+</m:t>
                      </m:r>
                      <m:sSup>
                        <m:sSupPr>
                          <m:ctrlP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sSupPr>
                        <m:e>
                          <m: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𝛾</m:t>
                          </m:r>
                        </m:e>
                        <m:sup>
                          <m: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2</m:t>
                          </m:r>
                        </m:sup>
                      </m:sSup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𝑅</m:t>
                      </m:r>
                      <m:d>
                        <m:dPr>
                          <m:ctrlP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𝑠</m:t>
                              </m:r>
                            </m:e>
                            <m:sub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2</m:t>
                              </m:r>
                            </m:sub>
                          </m:sSub>
                          <m:r>
                            <a:rPr kumimoji="0" lang="en-US" altLang="zh-CN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cs typeface="+mn-cs"/>
                            </a:rPr>
                            <m:t>,</m:t>
                          </m:r>
                          <m:sSub>
                            <m:sSubPr>
                              <m:ctrlP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</m:ctrlPr>
                            </m:sSubPr>
                            <m:e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𝑎</m:t>
                              </m:r>
                            </m:e>
                            <m:sub>
                              <m:r>
                                <a:rPr kumimoji="0" lang="en-US" altLang="zh-CN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cs typeface="+mn-cs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kumimoji="0" lang="en-US" altLang="zh-CN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cs typeface="+mn-cs"/>
                        </a:rPr>
                        <m:t>+  ⋅⋅⋅</m:t>
                      </m:r>
                    </m:oMath>
                  </m:oMathPara>
                </a14:m>
                <a:endParaRPr kumimoji="0" lang="zh-CN" altLang="zh-CN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 Math" panose="02040503050406030204" pitchFamily="18" charset="0"/>
                  <a:ea typeface="微软雅黑"/>
                  <a:cs typeface="+mn-cs"/>
                </a:endParaRPr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F44968CB-E544-40D8-B076-D2B166DB45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31179" y="5175500"/>
                <a:ext cx="6680447" cy="400110"/>
              </a:xfrm>
              <a:prstGeom prst="rect">
                <a:avLst/>
              </a:prstGeom>
              <a:blipFill>
                <a:blip r:embed="rId7"/>
                <a:stretch>
                  <a:fillRect b="-1363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53247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8.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1.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3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3.xml><?xml version="1.0" encoding="utf-8"?>
<a:theme xmlns:a="http://schemas.openxmlformats.org/drawingml/2006/main" name="2_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894</TotalTime>
  <Words>2123</Words>
  <Application>Microsoft Office PowerPoint</Application>
  <PresentationFormat>全屏显示(4:3)</PresentationFormat>
  <Paragraphs>416</Paragraphs>
  <Slides>36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6</vt:i4>
      </vt:variant>
    </vt:vector>
  </HeadingPairs>
  <TitlesOfParts>
    <vt:vector size="48" baseType="lpstr">
      <vt:lpstr>Alibaba PuHuiTi</vt:lpstr>
      <vt:lpstr>阿里巴巴普惠体 B</vt:lpstr>
      <vt:lpstr>阿里巴巴普惠体 R</vt:lpstr>
      <vt:lpstr>Microsoft YaHei</vt:lpstr>
      <vt:lpstr>Arial</vt:lpstr>
      <vt:lpstr>Calibri</vt:lpstr>
      <vt:lpstr>Cambria Math</vt:lpstr>
      <vt:lpstr>Wingdings</vt:lpstr>
      <vt:lpstr>主题5</vt:lpstr>
      <vt:lpstr>1_主题5</vt:lpstr>
      <vt:lpstr>2_主题5</vt:lpstr>
      <vt:lpstr>think-cell Slide</vt:lpstr>
      <vt:lpstr>PowerPoint 演示文稿</vt:lpstr>
      <vt:lpstr>课程大纲</vt:lpstr>
      <vt:lpstr>PowerPoint 演示文稿</vt:lpstr>
      <vt:lpstr>随机过程</vt:lpstr>
      <vt:lpstr>随机过程</vt:lpstr>
      <vt:lpstr>马尔可夫过程</vt:lpstr>
      <vt:lpstr>马尔可夫决策过程</vt:lpstr>
      <vt:lpstr>MDP五元组</vt:lpstr>
      <vt:lpstr>MDP的动态</vt:lpstr>
      <vt:lpstr>MDP的动态性</vt:lpstr>
      <vt:lpstr>REVIEW: 在与动态环境的交互中学习</vt:lpstr>
      <vt:lpstr>和动态环境交互产生的数据分布</vt:lpstr>
      <vt:lpstr>占用度量和策略</vt:lpstr>
      <vt:lpstr>占用度量和策略</vt:lpstr>
      <vt:lpstr>占用度量和累计奖励</vt:lpstr>
      <vt:lpstr>PowerPoint 演示文稿</vt:lpstr>
      <vt:lpstr>MDP目标和策略</vt:lpstr>
      <vt:lpstr>价值函数的Bellman等式</vt:lpstr>
      <vt:lpstr>最优价值函数</vt:lpstr>
      <vt:lpstr>价值迭代和策略迭代</vt:lpstr>
      <vt:lpstr>价值迭代</vt:lpstr>
      <vt:lpstr>同步 vs. 异步价值迭代</vt:lpstr>
      <vt:lpstr>价值迭代例子：最短路径</vt:lpstr>
      <vt:lpstr>策略迭代</vt:lpstr>
      <vt:lpstr>策略迭代</vt:lpstr>
      <vt:lpstr>举例：策略评估</vt:lpstr>
      <vt:lpstr>举例：策略评估</vt:lpstr>
      <vt:lpstr>举例：策略评估</vt:lpstr>
      <vt:lpstr>价值迭代 vs. 策略迭代</vt:lpstr>
      <vt:lpstr>PowerPoint 演示文稿</vt:lpstr>
      <vt:lpstr>学习一个MDP模型</vt:lpstr>
      <vt:lpstr>学习一个MDP模型</vt:lpstr>
      <vt:lpstr>学习模型&amp;优化策略</vt:lpstr>
      <vt:lpstr>学习一个MDP模型</vt:lpstr>
      <vt:lpstr>马尔可夫决策过程总结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einan Zhang</dc:creator>
  <cp:lastModifiedBy>Zhang Weinan</cp:lastModifiedBy>
  <cp:revision>189</cp:revision>
  <cp:lastPrinted>2019-07-12T11:51:00Z</cp:lastPrinted>
  <dcterms:created xsi:type="dcterms:W3CDTF">2019-04-27T16:00:00Z</dcterms:created>
  <dcterms:modified xsi:type="dcterms:W3CDTF">2022-05-15T19:06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698</vt:lpwstr>
  </property>
</Properties>
</file>